
<file path=[Content_Types].xml><?xml version="1.0" encoding="utf-8"?>
<Types xmlns="http://schemas.openxmlformats.org/package/2006/content-types">
  <Default Extension="xml" ContentType="application/xml"/>
  <Default Extension="jpeg" ContentType="image/jpeg"/>
  <Default Extension="tiff" ContentType="image/tiff"/>
  <Default Extension="emf" ContentType="image/x-emf"/>
  <Default Extension="xlsx" ContentType="application/vnd.openxmlformats-officedocument.spreadsheetml.sheet"/>
  <Default Extension="rels" ContentType="application/vnd.openxmlformats-package.relationships+xml"/>
  <Default Extension="vml" ContentType="application/vnd.openxmlformats-officedocument.vmlDrawing"/>
  <Default Extension="bin" ContentType="application/vnd.openxmlformats-officedocument.oleObject"/>
  <Default Extension="png" ContentType="image/p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charts/chart1.xml" ContentType="application/vnd.openxmlformats-officedocument.drawingml.chart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4" Type="http://schemas.openxmlformats.org/officeDocument/2006/relationships/extended-properties" Target="docProps/app.xml"/><Relationship Id="rId1" Type="http://schemas.openxmlformats.org/officeDocument/2006/relationships/officeDocument" Target="ppt/presentation.xml"/><Relationship Id="rId2" Type="http://schemas.openxmlformats.org/package/2006/relationships/metadata/thumbnail" Target="docProps/thumbnail.jpeg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sldIdLst>
    <p:sldId id="256" r:id="rId2"/>
  </p:sldIdLst>
  <p:sldSz cx="29260800" cy="27432000"/>
  <p:notesSz cx="23317200" cy="32461200"/>
  <p:custDataLst>
    <p:tags r:id="rId4"/>
  </p:custDataLst>
  <p:defaultTextStyle>
    <a:defPPr>
      <a:defRPr lang="en-US"/>
    </a:defPPr>
    <a:lvl1pPr marL="0" algn="l" defTabSz="4180088" rtl="0" eaLnBrk="1" latinLnBrk="0" hangingPunct="1">
      <a:defRPr sz="8200" kern="1200">
        <a:solidFill>
          <a:schemeClr val="tx1"/>
        </a:solidFill>
        <a:latin typeface="+mn-lt"/>
        <a:ea typeface="+mn-ea"/>
        <a:cs typeface="+mn-cs"/>
      </a:defRPr>
    </a:lvl1pPr>
    <a:lvl2pPr marL="2090044" algn="l" defTabSz="4180088" rtl="0" eaLnBrk="1" latinLnBrk="0" hangingPunct="1">
      <a:defRPr sz="8200" kern="1200">
        <a:solidFill>
          <a:schemeClr val="tx1"/>
        </a:solidFill>
        <a:latin typeface="+mn-lt"/>
        <a:ea typeface="+mn-ea"/>
        <a:cs typeface="+mn-cs"/>
      </a:defRPr>
    </a:lvl2pPr>
    <a:lvl3pPr marL="4180088" algn="l" defTabSz="4180088" rtl="0" eaLnBrk="1" latinLnBrk="0" hangingPunct="1">
      <a:defRPr sz="8200" kern="1200">
        <a:solidFill>
          <a:schemeClr val="tx1"/>
        </a:solidFill>
        <a:latin typeface="+mn-lt"/>
        <a:ea typeface="+mn-ea"/>
        <a:cs typeface="+mn-cs"/>
      </a:defRPr>
    </a:lvl3pPr>
    <a:lvl4pPr marL="6270132" algn="l" defTabSz="4180088" rtl="0" eaLnBrk="1" latinLnBrk="0" hangingPunct="1">
      <a:defRPr sz="8200" kern="1200">
        <a:solidFill>
          <a:schemeClr val="tx1"/>
        </a:solidFill>
        <a:latin typeface="+mn-lt"/>
        <a:ea typeface="+mn-ea"/>
        <a:cs typeface="+mn-cs"/>
      </a:defRPr>
    </a:lvl4pPr>
    <a:lvl5pPr marL="8360176" algn="l" defTabSz="4180088" rtl="0" eaLnBrk="1" latinLnBrk="0" hangingPunct="1">
      <a:defRPr sz="8200" kern="1200">
        <a:solidFill>
          <a:schemeClr val="tx1"/>
        </a:solidFill>
        <a:latin typeface="+mn-lt"/>
        <a:ea typeface="+mn-ea"/>
        <a:cs typeface="+mn-cs"/>
      </a:defRPr>
    </a:lvl5pPr>
    <a:lvl6pPr marL="10450220" algn="l" defTabSz="4180088" rtl="0" eaLnBrk="1" latinLnBrk="0" hangingPunct="1">
      <a:defRPr sz="8200" kern="1200">
        <a:solidFill>
          <a:schemeClr val="tx1"/>
        </a:solidFill>
        <a:latin typeface="+mn-lt"/>
        <a:ea typeface="+mn-ea"/>
        <a:cs typeface="+mn-cs"/>
      </a:defRPr>
    </a:lvl6pPr>
    <a:lvl7pPr marL="12540264" algn="l" defTabSz="4180088" rtl="0" eaLnBrk="1" latinLnBrk="0" hangingPunct="1">
      <a:defRPr sz="8200" kern="1200">
        <a:solidFill>
          <a:schemeClr val="tx1"/>
        </a:solidFill>
        <a:latin typeface="+mn-lt"/>
        <a:ea typeface="+mn-ea"/>
        <a:cs typeface="+mn-cs"/>
      </a:defRPr>
    </a:lvl7pPr>
    <a:lvl8pPr marL="14630309" algn="l" defTabSz="4180088" rtl="0" eaLnBrk="1" latinLnBrk="0" hangingPunct="1">
      <a:defRPr sz="8200" kern="1200">
        <a:solidFill>
          <a:schemeClr val="tx1"/>
        </a:solidFill>
        <a:latin typeface="+mn-lt"/>
        <a:ea typeface="+mn-ea"/>
        <a:cs typeface="+mn-cs"/>
      </a:defRPr>
    </a:lvl8pPr>
    <a:lvl9pPr marL="16720353" algn="l" defTabSz="4180088" rtl="0" eaLnBrk="1" latinLnBrk="0" hangingPunct="1">
      <a:defRPr sz="82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8700" userDrawn="1">
          <p15:clr>
            <a:srgbClr val="A4A3A4"/>
          </p15:clr>
        </p15:guide>
        <p15:guide id="2" pos="9216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0244"/>
    <p:restoredTop sz="91192"/>
  </p:normalViewPr>
  <p:slideViewPr>
    <p:cSldViewPr>
      <p:cViewPr>
        <p:scale>
          <a:sx n="94" d="100"/>
          <a:sy n="94" d="100"/>
        </p:scale>
        <p:origin x="-7184" y="-11032"/>
      </p:cViewPr>
      <p:guideLst>
        <p:guide orient="horz" pos="8700"/>
        <p:guide pos="9216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notesMaster" Target="notesMasters/notesMaster1.xml"/><Relationship Id="rId4" Type="http://schemas.openxmlformats.org/officeDocument/2006/relationships/tags" Target="tags/tag1.xml"/><Relationship Id="rId5" Type="http://schemas.openxmlformats.org/officeDocument/2006/relationships/presProps" Target="presProps.xml"/><Relationship Id="rId6" Type="http://schemas.openxmlformats.org/officeDocument/2006/relationships/viewProps" Target="viewProps.xml"/><Relationship Id="rId7" Type="http://schemas.openxmlformats.org/officeDocument/2006/relationships/theme" Target="theme/theme1.xml"/><Relationship Id="rId8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2" Type="http://schemas.openxmlformats.org/officeDocument/2006/relationships/slide" Target="slides/slide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oftware router</c:v>
                </c:pt>
              </c:strCache>
            </c:strRef>
          </c:tx>
          <c:spPr>
            <a:ln w="63500" cap="rnd">
              <a:solidFill>
                <a:srgbClr val="0000FF"/>
              </a:solidFill>
              <a:round/>
            </a:ln>
            <a:effectLst/>
          </c:spPr>
          <c:marker>
            <c:symbol val="circle"/>
            <c:size val="10"/>
            <c:spPr>
              <a:solidFill>
                <a:srgbClr val="3366FF"/>
              </a:solidFill>
              <a:ln w="9525">
                <a:solidFill>
                  <a:schemeClr val="tx1"/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0.0599888851189292"/>
                  <c:y val="0.0625627719838251"/>
                </c:manualLayout>
              </c:layout>
              <c:tx>
                <c:rich>
                  <a:bodyPr/>
                  <a:lstStyle/>
                  <a:p>
                    <a:r>
                      <a:rPr lang="en-US" sz="1600" smtClean="0">
                        <a:solidFill>
                          <a:schemeClr val="bg2">
                            <a:lumMod val="50000"/>
                          </a:schemeClr>
                        </a:solidFill>
                      </a:rPr>
                      <a:t>SNAP</a:t>
                    </a:r>
                  </a:p>
                  <a:p>
                    <a:r>
                      <a:rPr lang="en-US" sz="1600" smtClean="0">
                        <a:solidFill>
                          <a:schemeClr val="bg2">
                            <a:lumMod val="50000"/>
                          </a:schemeClr>
                        </a:solidFill>
                      </a:rPr>
                      <a:t>(Active Packets)</a:t>
                    </a:r>
                    <a:endParaRPr lang="en-US" dirty="0"/>
                  </a:p>
                </c:rich>
              </c:tx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0-34EC-4EE5-9F71-91F8806C0B04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"/>
              <c:layout>
                <c:manualLayout>
                  <c:x val="-0.0131649331352155"/>
                  <c:y val="0.0682736594310022"/>
                </c:manualLayout>
              </c:layout>
              <c:tx>
                <c:rich>
                  <a:bodyPr/>
                  <a:lstStyle/>
                  <a:p>
                    <a:r>
                      <a:rPr lang="en-US" sz="1600" smtClean="0">
                        <a:solidFill>
                          <a:schemeClr val="bg2">
                            <a:lumMod val="50000"/>
                          </a:schemeClr>
                        </a:solidFill>
                      </a:rPr>
                      <a:t>Click</a:t>
                    </a:r>
                  </a:p>
                  <a:p>
                    <a:r>
                      <a:rPr lang="en-US" sz="1600" smtClean="0">
                        <a:solidFill>
                          <a:schemeClr val="bg2">
                            <a:lumMod val="50000"/>
                          </a:schemeClr>
                        </a:solidFill>
                      </a:rPr>
                      <a:t>(CPU)</a:t>
                    </a:r>
                    <a:endParaRPr lang="en-US" dirty="0"/>
                  </a:p>
                </c:rich>
              </c:tx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1-34EC-4EE5-9F71-91F8806C0B04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"/>
              <c:layout>
                <c:manualLayout>
                  <c:x val="-0.0233544711071592"/>
                  <c:y val="0.0739845468781794"/>
                </c:manualLayout>
              </c:layout>
              <c:tx>
                <c:rich>
                  <a:bodyPr/>
                  <a:lstStyle/>
                  <a:p>
                    <a:r>
                      <a:rPr lang="is-IS" sz="1600" smtClean="0">
                        <a:solidFill>
                          <a:schemeClr val="bg2">
                            <a:lumMod val="50000"/>
                          </a:schemeClr>
                        </a:solidFill>
                      </a:rPr>
                      <a:t>IXP 2400</a:t>
                    </a:r>
                  </a:p>
                  <a:p>
                    <a:r>
                      <a:rPr lang="is-IS" sz="1600" smtClean="0">
                        <a:solidFill>
                          <a:schemeClr val="bg2">
                            <a:lumMod val="50000"/>
                          </a:schemeClr>
                        </a:solidFill>
                      </a:rPr>
                      <a:t>(NPU)</a:t>
                    </a:r>
                    <a:endParaRPr lang="is-IS"/>
                  </a:p>
                </c:rich>
              </c:tx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2-34EC-4EE5-9F71-91F8806C0B04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5"/>
              <c:layout>
                <c:manualLayout>
                  <c:x val="-0.0879082071951784"/>
                  <c:y val="0.0779449732162605"/>
                </c:manualLayout>
              </c:layout>
              <c:tx>
                <c:rich>
                  <a:bodyPr/>
                  <a:lstStyle/>
                  <a:p>
                    <a:r>
                      <a:rPr lang="en-US" sz="1600" smtClean="0">
                        <a:solidFill>
                          <a:schemeClr val="bg2">
                            <a:lumMod val="50000"/>
                          </a:schemeClr>
                        </a:solidFill>
                      </a:rPr>
                      <a:t>RouteBricks</a:t>
                    </a:r>
                  </a:p>
                  <a:p>
                    <a:r>
                      <a:rPr lang="en-US" sz="1600" smtClean="0">
                        <a:solidFill>
                          <a:schemeClr val="bg2">
                            <a:lumMod val="50000"/>
                          </a:schemeClr>
                        </a:solidFill>
                      </a:rPr>
                      <a:t>(multi-core)</a:t>
                    </a:r>
                    <a:endParaRPr lang="en-US" dirty="0"/>
                  </a:p>
                </c:rich>
              </c:tx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3-34EC-4EE5-9F71-91F8806C0B04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6"/>
              <c:layout>
                <c:manualLayout>
                  <c:x val="-0.0781579045883925"/>
                  <c:y val="0.0636788948696414"/>
                </c:manualLayout>
              </c:layout>
              <c:tx>
                <c:rich>
                  <a:bodyPr/>
                  <a:lstStyle/>
                  <a:p>
                    <a:r>
                      <a:rPr lang="en-US" sz="1600">
                        <a:solidFill>
                          <a:schemeClr val="bg2">
                            <a:lumMod val="50000"/>
                          </a:schemeClr>
                        </a:solidFill>
                      </a:rPr>
                      <a:t>PacketShader </a:t>
                    </a:r>
                  </a:p>
                  <a:p>
                    <a:r>
                      <a:rPr lang="en-US" sz="1600">
                        <a:solidFill>
                          <a:schemeClr val="bg2">
                            <a:lumMod val="50000"/>
                          </a:schemeClr>
                        </a:solidFill>
                      </a:rPr>
                      <a:t>(GPU)</a:t>
                    </a:r>
                    <a:endParaRPr lang="en-US"/>
                  </a:p>
                </c:rich>
              </c:tx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4-34EC-4EE5-9F71-91F8806C0B04}"/>
                </c:ext>
                <c:ext xmlns:c15="http://schemas.microsoft.com/office/drawing/2012/chart" uri="{CE6537A1-D6FC-4f65-9D91-7224C49458BB}">
                  <c15:layout>
                    <c:manualLayout>
                      <c:w val="0.136903303093452"/>
                      <c:h val="0.144369010154199"/>
                    </c:manualLayout>
                  </c15:layout>
                </c:ext>
              </c:extLst>
            </c:dLbl>
            <c:dLbl>
              <c:idx val="7"/>
              <c:layout>
                <c:manualLayout>
                  <c:x val="-0.000341945865169374"/>
                  <c:y val="0.113931201183205"/>
                </c:manualLayout>
              </c:layout>
              <c:tx>
                <c:rich>
                  <a:bodyPr/>
                  <a:lstStyle/>
                  <a:p>
                    <a:r>
                      <a:rPr lang="en-US" sz="1600" dirty="0" err="1" smtClean="0">
                        <a:solidFill>
                          <a:schemeClr val="bg2">
                            <a:lumMod val="50000"/>
                          </a:schemeClr>
                        </a:solidFill>
                      </a:rPr>
                      <a:t>SoftNIC</a:t>
                    </a:r>
                    <a:endParaRPr lang="en-US" sz="1600" dirty="0" smtClean="0">
                      <a:solidFill>
                        <a:schemeClr val="bg2">
                          <a:lumMod val="50000"/>
                        </a:schemeClr>
                      </a:solidFill>
                    </a:endParaRPr>
                  </a:p>
                  <a:p>
                    <a:r>
                      <a:rPr lang="en-US" sz="1600" dirty="0" smtClean="0">
                        <a:solidFill>
                          <a:schemeClr val="bg2">
                            <a:lumMod val="50000"/>
                          </a:schemeClr>
                        </a:solidFill>
                      </a:rPr>
                      <a:t>(multi-core)</a:t>
                    </a:r>
                    <a:endParaRPr lang="en-US" dirty="0"/>
                  </a:p>
                </c:rich>
              </c:tx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5-34EC-4EE5-9F71-91F8806C0B04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vert="horz"/>
              <a:lstStyle/>
              <a:p>
                <a:pPr>
                  <a:defRPr sz="1600">
                    <a:solidFill>
                      <a:schemeClr val="bg2">
                        <a:lumMod val="50000"/>
                      </a:schemeClr>
                    </a:solidFill>
                  </a:defRPr>
                </a:pPr>
                <a:endParaRPr lang="en-US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9</c:f>
              <c:numCache>
                <c:formatCode>General</c:formatCode>
                <c:ptCount val="8"/>
                <c:pt idx="0">
                  <c:v>1999.0</c:v>
                </c:pt>
                <c:pt idx="1">
                  <c:v>2000.0</c:v>
                </c:pt>
                <c:pt idx="2">
                  <c:v>2002.0</c:v>
                </c:pt>
                <c:pt idx="3">
                  <c:v>2004.0</c:v>
                </c:pt>
                <c:pt idx="4">
                  <c:v>2007.0</c:v>
                </c:pt>
                <c:pt idx="5">
                  <c:v>2009.0</c:v>
                </c:pt>
                <c:pt idx="6">
                  <c:v>2010.0</c:v>
                </c:pt>
                <c:pt idx="7">
                  <c:v>2014.0</c:v>
                </c:pt>
              </c:numCache>
            </c:numRef>
          </c:cat>
          <c:val>
            <c:numRef>
              <c:f>Sheet1!$B$2:$B$9</c:f>
              <c:numCache>
                <c:formatCode>General</c:formatCode>
                <c:ptCount val="8"/>
                <c:pt idx="0">
                  <c:v>0.1</c:v>
                </c:pt>
                <c:pt idx="1">
                  <c:v>0.17</c:v>
                </c:pt>
                <c:pt idx="2">
                  <c:v>4.0</c:v>
                </c:pt>
                <c:pt idx="5">
                  <c:v>35.0</c:v>
                </c:pt>
                <c:pt idx="6">
                  <c:v>40.0</c:v>
                </c:pt>
                <c:pt idx="7">
                  <c:v>100.0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6-34EC-4EE5-9F71-91F8806C0B04}"/>
            </c:ext>
          </c:extLst>
        </c:ser>
        <c:ser>
          <c:idx val="2"/>
          <c:order val="1"/>
          <c:tx>
            <c:strRef>
              <c:f>Sheet1!$C$1</c:f>
              <c:strCache>
                <c:ptCount val="1"/>
                <c:pt idx="0">
                  <c:v>Hardware router</c:v>
                </c:pt>
              </c:strCache>
            </c:strRef>
          </c:tx>
          <c:spPr>
            <a:ln w="63500" cap="rnd">
              <a:solidFill>
                <a:srgbClr val="99162D"/>
              </a:solidFill>
              <a:round/>
            </a:ln>
            <a:effectLst/>
          </c:spPr>
          <c:marker>
            <c:symbol val="square"/>
            <c:size val="10"/>
            <c:spPr>
              <a:solidFill>
                <a:srgbClr val="FF6666"/>
              </a:solidFill>
              <a:ln w="9525">
                <a:solidFill>
                  <a:schemeClr val="tx1"/>
                </a:solidFill>
              </a:ln>
              <a:effectLst/>
            </c:spPr>
          </c:marker>
          <c:dLbls>
            <c:dLbl>
              <c:idx val="0"/>
              <c:layout/>
              <c:tx>
                <c:rich>
                  <a:bodyPr/>
                  <a:lstStyle/>
                  <a:p>
                    <a:r>
                      <a:rPr lang="en-US" sz="1600" dirty="0" smtClean="0">
                        <a:solidFill>
                          <a:srgbClr val="767171"/>
                        </a:solidFill>
                      </a:rPr>
                      <a:t>Catalyst</a:t>
                    </a:r>
                    <a:endParaRPr lang="en-US" dirty="0"/>
                  </a:p>
                </c:rich>
              </c:tx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7-34EC-4EE5-9F71-91F8806C0B04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3"/>
              <c:layout>
                <c:manualLayout>
                  <c:x val="-0.123236116866971"/>
                  <c:y val="-0.0615204226056711"/>
                </c:manualLayout>
              </c:layout>
              <c:tx>
                <c:rich>
                  <a:bodyPr/>
                  <a:lstStyle/>
                  <a:p>
                    <a:r>
                      <a:rPr lang="en-US" sz="1600" dirty="0" smtClean="0">
                        <a:solidFill>
                          <a:srgbClr val="767171"/>
                        </a:solidFill>
                      </a:rPr>
                      <a:t>Broadcom</a:t>
                    </a:r>
                  </a:p>
                  <a:p>
                    <a:r>
                      <a:rPr lang="en-US" sz="1600" dirty="0" smtClean="0">
                        <a:solidFill>
                          <a:srgbClr val="767171"/>
                        </a:solidFill>
                      </a:rPr>
                      <a:t>5670</a:t>
                    </a:r>
                    <a:endParaRPr lang="en-US" dirty="0"/>
                  </a:p>
                </c:rich>
              </c:tx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8-34EC-4EE5-9F71-91F8806C0B04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4"/>
              <c:layout/>
              <c:tx>
                <c:rich>
                  <a:bodyPr/>
                  <a:lstStyle/>
                  <a:p>
                    <a:r>
                      <a:rPr lang="en-US" sz="1600" smtClean="0">
                        <a:solidFill>
                          <a:srgbClr val="767171"/>
                        </a:solidFill>
                      </a:rPr>
                      <a:t>Scorpion</a:t>
                    </a:r>
                    <a:endParaRPr lang="en-US" dirty="0"/>
                  </a:p>
                </c:rich>
              </c:tx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9-34EC-4EE5-9F71-91F8806C0B04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6"/>
              <c:layout/>
              <c:tx>
                <c:rich>
                  <a:bodyPr/>
                  <a:lstStyle/>
                  <a:p>
                    <a:r>
                      <a:rPr lang="en-US" sz="1600" smtClean="0">
                        <a:solidFill>
                          <a:srgbClr val="767171"/>
                        </a:solidFill>
                      </a:rPr>
                      <a:t>Trident</a:t>
                    </a:r>
                    <a:endParaRPr lang="en-US" dirty="0"/>
                  </a:p>
                </c:rich>
              </c:tx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A-34EC-4EE5-9F71-91F8806C0B04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7"/>
              <c:layout/>
              <c:tx>
                <c:rich>
                  <a:bodyPr/>
                  <a:lstStyle/>
                  <a:p>
                    <a:r>
                      <a:rPr lang="en-US" sz="1600" dirty="0" smtClean="0">
                        <a:solidFill>
                          <a:srgbClr val="767171"/>
                        </a:solidFill>
                      </a:rPr>
                      <a:t>Tomahawk</a:t>
                    </a:r>
                    <a:endParaRPr lang="en-US" dirty="0" smtClean="0"/>
                  </a:p>
                </c:rich>
              </c:tx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B-34EC-4EE5-9F71-91F8806C0B04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vert="horz"/>
              <a:lstStyle/>
              <a:p>
                <a:pPr>
                  <a:defRPr sz="1600">
                    <a:solidFill>
                      <a:srgbClr val="767171"/>
                    </a:solidFill>
                  </a:defRPr>
                </a:pPr>
                <a:endParaRPr lang="en-US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9</c:f>
              <c:numCache>
                <c:formatCode>General</c:formatCode>
                <c:ptCount val="8"/>
                <c:pt idx="0">
                  <c:v>1999.0</c:v>
                </c:pt>
                <c:pt idx="1">
                  <c:v>2000.0</c:v>
                </c:pt>
                <c:pt idx="2">
                  <c:v>2002.0</c:v>
                </c:pt>
                <c:pt idx="3">
                  <c:v>2004.0</c:v>
                </c:pt>
                <c:pt idx="4">
                  <c:v>2007.0</c:v>
                </c:pt>
                <c:pt idx="5">
                  <c:v>2009.0</c:v>
                </c:pt>
                <c:pt idx="6">
                  <c:v>2010.0</c:v>
                </c:pt>
                <c:pt idx="7">
                  <c:v>2014.0</c:v>
                </c:pt>
              </c:numCache>
            </c:numRef>
          </c:cat>
          <c:val>
            <c:numRef>
              <c:f>Sheet1!$C$2:$C$9</c:f>
              <c:numCache>
                <c:formatCode>General</c:formatCode>
                <c:ptCount val="8"/>
                <c:pt idx="0">
                  <c:v>32.0</c:v>
                </c:pt>
                <c:pt idx="3">
                  <c:v>80.0</c:v>
                </c:pt>
                <c:pt idx="4">
                  <c:v>240.0</c:v>
                </c:pt>
                <c:pt idx="6">
                  <c:v>640.0</c:v>
                </c:pt>
                <c:pt idx="7">
                  <c:v>3200.0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C-34EC-4EE5-9F71-91F8806C0B04}"/>
            </c:ext>
          </c:extLst>
        </c:ser>
        <c:dLbls>
          <c:dLblPos val="t"/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1566533504"/>
        <c:axId val="1618191440"/>
      </c:lineChart>
      <c:catAx>
        <c:axId val="1566533504"/>
        <c:scaling>
          <c:orientation val="minMax"/>
        </c:scaling>
        <c:delete val="0"/>
        <c:axPos val="b"/>
        <c:title>
          <c:tx>
            <c:rich>
              <a:bodyPr rot="0" vert="horz"/>
              <a:lstStyle/>
              <a:p>
                <a:pPr>
                  <a:defRPr sz="2000">
                    <a:latin typeface="Seravek"/>
                    <a:cs typeface="Seravek"/>
                  </a:defRPr>
                </a:pPr>
                <a:r>
                  <a:rPr lang="en-US" sz="2000" dirty="0">
                    <a:latin typeface="Gadugi" charset="0"/>
                    <a:cs typeface="Gadugi" charset="0"/>
                  </a:rPr>
                  <a:t>Year</a:t>
                </a: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low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vert="horz"/>
          <a:lstStyle/>
          <a:p>
            <a:pPr>
              <a:defRPr/>
            </a:pPr>
            <a:endParaRPr lang="en-US"/>
          </a:p>
        </c:txPr>
        <c:crossAx val="1618191440"/>
        <c:crosses val="autoZero"/>
        <c:auto val="1"/>
        <c:lblAlgn val="ctr"/>
        <c:lblOffset val="100"/>
        <c:noMultiLvlLbl val="0"/>
      </c:catAx>
      <c:valAx>
        <c:axId val="1618191440"/>
        <c:scaling>
          <c:logBase val="10.0"/>
          <c:orientation val="minMax"/>
          <c:min val="0.01"/>
        </c:scaling>
        <c:delete val="0"/>
        <c:axPos val="l"/>
        <c:title>
          <c:tx>
            <c:rich>
              <a:bodyPr rot="-5400000" vert="horz"/>
              <a:lstStyle/>
              <a:p>
                <a:pPr>
                  <a:defRPr sz="2000">
                    <a:latin typeface="Seravek"/>
                    <a:cs typeface="Seravek"/>
                  </a:defRPr>
                </a:pPr>
                <a:r>
                  <a:rPr lang="en-US" sz="2000" dirty="0" err="1">
                    <a:latin typeface="Gadugi" charset="0"/>
                    <a:cs typeface="Gadugi" charset="0"/>
                  </a:rPr>
                  <a:t>Gbit</a:t>
                </a:r>
                <a:r>
                  <a:rPr lang="en-US" sz="2000" dirty="0">
                    <a:latin typeface="Gadugi" charset="0"/>
                    <a:cs typeface="Gadugi" charset="0"/>
                  </a:rPr>
                  <a:t>/s</a:t>
                </a: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vert="horz"/>
          <a:lstStyle/>
          <a:p>
            <a:pPr>
              <a:defRPr/>
            </a:pPr>
            <a:endParaRPr lang="en-US"/>
          </a:p>
        </c:txPr>
        <c:crossAx val="1566533504"/>
        <c:crosses val="autoZero"/>
        <c:crossBetween val="between"/>
      </c:valAx>
      <c:spPr>
        <a:noFill/>
        <a:ln>
          <a:solidFill>
            <a:schemeClr val="bg2">
              <a:lumMod val="90000"/>
            </a:schemeClr>
          </a:solidFill>
        </a:ln>
        <a:effectLst/>
      </c:spPr>
    </c:plotArea>
    <c:legend>
      <c:legendPos val="t"/>
      <c:layout>
        <c:manualLayout>
          <c:xMode val="edge"/>
          <c:yMode val="edge"/>
          <c:x val="0.69191874655091"/>
          <c:y val="0.495975134003616"/>
          <c:w val="0.288512693134399"/>
          <c:h val="0.185857712907838"/>
        </c:manualLayout>
      </c:layout>
      <c:overlay val="1"/>
      <c:spPr>
        <a:noFill/>
        <a:ln>
          <a:noFill/>
        </a:ln>
        <a:effectLst/>
      </c:spPr>
      <c:txPr>
        <a:bodyPr rot="0" vert="horz"/>
        <a:lstStyle/>
        <a:p>
          <a:pPr>
            <a:defRPr sz="2000"/>
          </a:pPr>
          <a:endParaRPr lang="en-US"/>
        </a:p>
      </c:txPr>
    </c:legend>
    <c:plotVisOnly val="1"/>
    <c:dispBlanksAs val="span"/>
    <c:showDLblsOverMax val="0"/>
  </c:chart>
  <c:spPr>
    <a:noFill/>
    <a:ln>
      <a:noFill/>
    </a:ln>
    <a:effectLst/>
  </c:spPr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10104438" cy="16271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13208000" y="0"/>
            <a:ext cx="10104438" cy="16271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0A9597E-C827-1E4D-8E79-6304D05181A1}" type="datetimeFigureOut">
              <a:rPr lang="en-US" smtClean="0"/>
              <a:t>2/3/17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5815013" y="4057650"/>
            <a:ext cx="11687175" cy="1095533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2332038" y="15622588"/>
            <a:ext cx="18653125" cy="12780962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30834013"/>
            <a:ext cx="10104438" cy="16271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13208000" y="30834013"/>
            <a:ext cx="10104438" cy="16271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D0C7123-2BF6-5E4C-BE25-C442369D46B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7234689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194560" y="8521718"/>
            <a:ext cx="24871680" cy="5880102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389120" y="15544800"/>
            <a:ext cx="20482560" cy="70104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10352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20705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31058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4141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517636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621163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724691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82821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4581AD-2B9E-4695-84CD-BB129D18CC42}" type="datetimeFigureOut">
              <a:rPr lang="en-US" smtClean="0"/>
              <a:t>2/3/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D58AE0-62DB-48E4-B81C-299BAAB312C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8080212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735321" y="19202419"/>
            <a:ext cx="17556480" cy="2266954"/>
          </a:xfrm>
        </p:spPr>
        <p:txBody>
          <a:bodyPr anchor="b"/>
          <a:lstStyle>
            <a:lvl1pPr algn="l">
              <a:defRPr sz="4507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735321" y="2451102"/>
            <a:ext cx="17556480" cy="16459200"/>
          </a:xfrm>
        </p:spPr>
        <p:txBody>
          <a:bodyPr/>
          <a:lstStyle>
            <a:lvl1pPr marL="0" indent="0">
              <a:buNone/>
              <a:defRPr sz="7230"/>
            </a:lvl1pPr>
            <a:lvl2pPr marL="1035272" indent="0">
              <a:buNone/>
              <a:defRPr sz="6339"/>
            </a:lvl2pPr>
            <a:lvl3pPr marL="2070546" indent="0">
              <a:buNone/>
              <a:defRPr sz="5448"/>
            </a:lvl3pPr>
            <a:lvl4pPr marL="3105819" indent="0">
              <a:buNone/>
              <a:defRPr sz="4507"/>
            </a:lvl4pPr>
            <a:lvl5pPr marL="4141093" indent="0">
              <a:buNone/>
              <a:defRPr sz="4507"/>
            </a:lvl5pPr>
            <a:lvl6pPr marL="5176365" indent="0">
              <a:buNone/>
              <a:defRPr sz="4507"/>
            </a:lvl6pPr>
            <a:lvl7pPr marL="6211637" indent="0">
              <a:buNone/>
              <a:defRPr sz="4507"/>
            </a:lvl7pPr>
            <a:lvl8pPr marL="7246912" indent="0">
              <a:buNone/>
              <a:defRPr sz="4507"/>
            </a:lvl8pPr>
            <a:lvl9pPr marL="8282183" indent="0">
              <a:buNone/>
              <a:defRPr sz="4507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5735321" y="21469362"/>
            <a:ext cx="17556480" cy="3219447"/>
          </a:xfrm>
        </p:spPr>
        <p:txBody>
          <a:bodyPr/>
          <a:lstStyle>
            <a:lvl1pPr marL="0" indent="0">
              <a:buNone/>
              <a:defRPr sz="3170"/>
            </a:lvl1pPr>
            <a:lvl2pPr marL="1035272" indent="0">
              <a:buNone/>
              <a:defRPr sz="2724"/>
            </a:lvl2pPr>
            <a:lvl3pPr marL="2070546" indent="0">
              <a:buNone/>
              <a:defRPr sz="2278"/>
            </a:lvl3pPr>
            <a:lvl4pPr marL="3105819" indent="0">
              <a:buNone/>
              <a:defRPr sz="2030"/>
            </a:lvl4pPr>
            <a:lvl5pPr marL="4141093" indent="0">
              <a:buNone/>
              <a:defRPr sz="2030"/>
            </a:lvl5pPr>
            <a:lvl6pPr marL="5176365" indent="0">
              <a:buNone/>
              <a:defRPr sz="2030"/>
            </a:lvl6pPr>
            <a:lvl7pPr marL="6211637" indent="0">
              <a:buNone/>
              <a:defRPr sz="2030"/>
            </a:lvl7pPr>
            <a:lvl8pPr marL="7246912" indent="0">
              <a:buNone/>
              <a:defRPr sz="2030"/>
            </a:lvl8pPr>
            <a:lvl9pPr marL="8282183" indent="0">
              <a:buNone/>
              <a:defRPr sz="203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4581AD-2B9E-4695-84CD-BB129D18CC42}" type="datetimeFigureOut">
              <a:rPr lang="en-US" smtClean="0"/>
              <a:t>2/3/17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D58AE0-62DB-48E4-B81C-299BAAB312C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1185714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4581AD-2B9E-4695-84CD-BB129D18CC42}" type="datetimeFigureOut">
              <a:rPr lang="en-US" smtClean="0"/>
              <a:t>2/3/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D58AE0-62DB-48E4-B81C-299BAAB312C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6574165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21214080" y="1098569"/>
            <a:ext cx="6583680" cy="23406102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463040" y="1098569"/>
            <a:ext cx="19263360" cy="23406102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4581AD-2B9E-4695-84CD-BB129D18CC42}" type="datetimeFigureOut">
              <a:rPr lang="en-US" smtClean="0"/>
              <a:t>2/3/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D58AE0-62DB-48E4-B81C-299BAAB312C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4023287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ounded Rectangle 6"/>
          <p:cNvSpPr/>
          <p:nvPr userDrawn="1"/>
        </p:nvSpPr>
        <p:spPr>
          <a:xfrm>
            <a:off x="19913600" y="2959018"/>
            <a:ext cx="8534400" cy="6000750"/>
          </a:xfrm>
          <a:prstGeom prst="roundRect">
            <a:avLst/>
          </a:prstGeom>
          <a:noFill/>
          <a:ln w="1270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028"/>
          </a:p>
        </p:txBody>
      </p:sp>
      <p:sp>
        <p:nvSpPr>
          <p:cNvPr id="11" name="Rounded Rectangle 10"/>
          <p:cNvSpPr/>
          <p:nvPr userDrawn="1"/>
        </p:nvSpPr>
        <p:spPr>
          <a:xfrm>
            <a:off x="19913600" y="20288250"/>
            <a:ext cx="8534400" cy="6000750"/>
          </a:xfrm>
          <a:prstGeom prst="roundRect">
            <a:avLst/>
          </a:prstGeom>
          <a:noFill/>
          <a:ln w="1270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028"/>
          </a:p>
        </p:txBody>
      </p:sp>
      <p:sp>
        <p:nvSpPr>
          <p:cNvPr id="12" name="Rounded Rectangle 11"/>
          <p:cNvSpPr/>
          <p:nvPr userDrawn="1"/>
        </p:nvSpPr>
        <p:spPr>
          <a:xfrm>
            <a:off x="19942120" y="11653712"/>
            <a:ext cx="8534400" cy="6000750"/>
          </a:xfrm>
          <a:prstGeom prst="roundRect">
            <a:avLst/>
          </a:prstGeom>
          <a:noFill/>
          <a:ln w="1270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028"/>
          </a:p>
        </p:txBody>
      </p:sp>
      <p:sp>
        <p:nvSpPr>
          <p:cNvPr id="16" name="Rounded Rectangle 15"/>
          <p:cNvSpPr/>
          <p:nvPr userDrawn="1"/>
        </p:nvSpPr>
        <p:spPr>
          <a:xfrm>
            <a:off x="745067" y="2898860"/>
            <a:ext cx="8534400" cy="6000750"/>
          </a:xfrm>
          <a:prstGeom prst="roundRect">
            <a:avLst/>
          </a:prstGeom>
          <a:noFill/>
          <a:ln w="1270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028"/>
          </a:p>
        </p:txBody>
      </p:sp>
      <p:sp>
        <p:nvSpPr>
          <p:cNvPr id="17" name="Rounded Rectangle 16"/>
          <p:cNvSpPr/>
          <p:nvPr userDrawn="1"/>
        </p:nvSpPr>
        <p:spPr>
          <a:xfrm>
            <a:off x="745067" y="20228094"/>
            <a:ext cx="8534400" cy="6000750"/>
          </a:xfrm>
          <a:prstGeom prst="roundRect">
            <a:avLst/>
          </a:prstGeom>
          <a:noFill/>
          <a:ln w="1270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028"/>
          </a:p>
        </p:txBody>
      </p:sp>
      <p:sp>
        <p:nvSpPr>
          <p:cNvPr id="18" name="Rounded Rectangle 17"/>
          <p:cNvSpPr/>
          <p:nvPr userDrawn="1"/>
        </p:nvSpPr>
        <p:spPr>
          <a:xfrm>
            <a:off x="773585" y="11593554"/>
            <a:ext cx="8534400" cy="6000750"/>
          </a:xfrm>
          <a:prstGeom prst="roundRect">
            <a:avLst/>
          </a:prstGeom>
          <a:noFill/>
          <a:ln w="1270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028"/>
          </a:p>
        </p:txBody>
      </p:sp>
      <p:sp>
        <p:nvSpPr>
          <p:cNvPr id="19" name="Rounded Rectangle 18"/>
          <p:cNvSpPr/>
          <p:nvPr userDrawn="1"/>
        </p:nvSpPr>
        <p:spPr>
          <a:xfrm>
            <a:off x="10329333" y="2959018"/>
            <a:ext cx="8534400" cy="6000750"/>
          </a:xfrm>
          <a:prstGeom prst="roundRect">
            <a:avLst/>
          </a:prstGeom>
          <a:noFill/>
          <a:ln w="1270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028"/>
          </a:p>
        </p:txBody>
      </p:sp>
      <p:sp>
        <p:nvSpPr>
          <p:cNvPr id="20" name="Rounded Rectangle 19"/>
          <p:cNvSpPr/>
          <p:nvPr userDrawn="1"/>
        </p:nvSpPr>
        <p:spPr>
          <a:xfrm>
            <a:off x="10329333" y="20288250"/>
            <a:ext cx="8534400" cy="6000750"/>
          </a:xfrm>
          <a:prstGeom prst="roundRect">
            <a:avLst/>
          </a:prstGeom>
          <a:noFill/>
          <a:ln w="1270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028"/>
          </a:p>
        </p:txBody>
      </p:sp>
      <p:sp>
        <p:nvSpPr>
          <p:cNvPr id="21" name="Rounded Rectangle 20"/>
          <p:cNvSpPr/>
          <p:nvPr userDrawn="1"/>
        </p:nvSpPr>
        <p:spPr>
          <a:xfrm>
            <a:off x="10357852" y="11653712"/>
            <a:ext cx="8534400" cy="6000750"/>
          </a:xfrm>
          <a:prstGeom prst="roundRect">
            <a:avLst/>
          </a:prstGeom>
          <a:noFill/>
          <a:ln w="1270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028"/>
          </a:p>
        </p:txBody>
      </p:sp>
      <p:sp>
        <p:nvSpPr>
          <p:cNvPr id="42" name="Title 41"/>
          <p:cNvSpPr>
            <a:spLocks noGrp="1"/>
          </p:cNvSpPr>
          <p:nvPr>
            <p:ph type="title" hasCustomPrompt="1"/>
          </p:nvPr>
        </p:nvSpPr>
        <p:spPr>
          <a:xfrm>
            <a:off x="1457692" y="615066"/>
            <a:ext cx="26334720" cy="908949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Heading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858704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4581AD-2B9E-4695-84CD-BB129D18CC42}" type="datetimeFigureOut">
              <a:rPr lang="en-US" smtClean="0"/>
              <a:t>2/3/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D58AE0-62DB-48E4-B81C-299BAAB312C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3355996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11401" y="17627601"/>
            <a:ext cx="24871680" cy="5448300"/>
          </a:xfrm>
        </p:spPr>
        <p:txBody>
          <a:bodyPr anchor="t"/>
          <a:lstStyle>
            <a:lvl1pPr algn="l">
              <a:defRPr sz="9066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311401" y="11626865"/>
            <a:ext cx="24871680" cy="6000747"/>
          </a:xfrm>
        </p:spPr>
        <p:txBody>
          <a:bodyPr anchor="b"/>
          <a:lstStyle>
            <a:lvl1pPr marL="0" indent="0">
              <a:buNone/>
              <a:defRPr sz="4507">
                <a:solidFill>
                  <a:schemeClr val="tx1">
                    <a:tint val="75000"/>
                  </a:schemeClr>
                </a:solidFill>
              </a:defRPr>
            </a:lvl1pPr>
            <a:lvl2pPr marL="1035272" indent="0">
              <a:buNone/>
              <a:defRPr sz="4061">
                <a:solidFill>
                  <a:schemeClr val="tx1">
                    <a:tint val="75000"/>
                  </a:schemeClr>
                </a:solidFill>
              </a:defRPr>
            </a:lvl2pPr>
            <a:lvl3pPr marL="2070546" indent="0">
              <a:buNone/>
              <a:defRPr sz="3615">
                <a:solidFill>
                  <a:schemeClr val="tx1">
                    <a:tint val="75000"/>
                  </a:schemeClr>
                </a:solidFill>
              </a:defRPr>
            </a:lvl3pPr>
            <a:lvl4pPr marL="3105819" indent="0">
              <a:buNone/>
              <a:defRPr sz="3170">
                <a:solidFill>
                  <a:schemeClr val="tx1">
                    <a:tint val="75000"/>
                  </a:schemeClr>
                </a:solidFill>
              </a:defRPr>
            </a:lvl4pPr>
            <a:lvl5pPr marL="4141093" indent="0">
              <a:buNone/>
              <a:defRPr sz="3170">
                <a:solidFill>
                  <a:schemeClr val="tx1">
                    <a:tint val="75000"/>
                  </a:schemeClr>
                </a:solidFill>
              </a:defRPr>
            </a:lvl5pPr>
            <a:lvl6pPr marL="5176365" indent="0">
              <a:buNone/>
              <a:defRPr sz="3170">
                <a:solidFill>
                  <a:schemeClr val="tx1">
                    <a:tint val="75000"/>
                  </a:schemeClr>
                </a:solidFill>
              </a:defRPr>
            </a:lvl6pPr>
            <a:lvl7pPr marL="6211637" indent="0">
              <a:buNone/>
              <a:defRPr sz="3170">
                <a:solidFill>
                  <a:schemeClr val="tx1">
                    <a:tint val="75000"/>
                  </a:schemeClr>
                </a:solidFill>
              </a:defRPr>
            </a:lvl7pPr>
            <a:lvl8pPr marL="7246912" indent="0">
              <a:buNone/>
              <a:defRPr sz="3170">
                <a:solidFill>
                  <a:schemeClr val="tx1">
                    <a:tint val="75000"/>
                  </a:schemeClr>
                </a:solidFill>
              </a:defRPr>
            </a:lvl8pPr>
            <a:lvl9pPr marL="8282183" indent="0">
              <a:buNone/>
              <a:defRPr sz="317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4581AD-2B9E-4695-84CD-BB129D18CC42}" type="datetimeFigureOut">
              <a:rPr lang="en-US" smtClean="0"/>
              <a:t>2/3/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D58AE0-62DB-48E4-B81C-299BAAB312C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1022239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463040" y="6400811"/>
            <a:ext cx="12923520" cy="18103851"/>
          </a:xfrm>
        </p:spPr>
        <p:txBody>
          <a:bodyPr/>
          <a:lstStyle>
            <a:lvl1pPr>
              <a:defRPr sz="6339"/>
            </a:lvl1pPr>
            <a:lvl2pPr>
              <a:defRPr sz="5448"/>
            </a:lvl2pPr>
            <a:lvl3pPr>
              <a:defRPr sz="4507"/>
            </a:lvl3pPr>
            <a:lvl4pPr>
              <a:defRPr sz="4061"/>
            </a:lvl4pPr>
            <a:lvl5pPr>
              <a:defRPr sz="4061"/>
            </a:lvl5pPr>
            <a:lvl6pPr>
              <a:defRPr sz="4061"/>
            </a:lvl6pPr>
            <a:lvl7pPr>
              <a:defRPr sz="4061"/>
            </a:lvl7pPr>
            <a:lvl8pPr>
              <a:defRPr sz="4061"/>
            </a:lvl8pPr>
            <a:lvl9pPr>
              <a:defRPr sz="4061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4874240" y="6400811"/>
            <a:ext cx="12923520" cy="18103851"/>
          </a:xfrm>
        </p:spPr>
        <p:txBody>
          <a:bodyPr/>
          <a:lstStyle>
            <a:lvl1pPr>
              <a:defRPr sz="6339"/>
            </a:lvl1pPr>
            <a:lvl2pPr>
              <a:defRPr sz="5448"/>
            </a:lvl2pPr>
            <a:lvl3pPr>
              <a:defRPr sz="4507"/>
            </a:lvl3pPr>
            <a:lvl4pPr>
              <a:defRPr sz="4061"/>
            </a:lvl4pPr>
            <a:lvl5pPr>
              <a:defRPr sz="4061"/>
            </a:lvl5pPr>
            <a:lvl6pPr>
              <a:defRPr sz="4061"/>
            </a:lvl6pPr>
            <a:lvl7pPr>
              <a:defRPr sz="4061"/>
            </a:lvl7pPr>
            <a:lvl8pPr>
              <a:defRPr sz="4061"/>
            </a:lvl8pPr>
            <a:lvl9pPr>
              <a:defRPr sz="4061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4581AD-2B9E-4695-84CD-BB129D18CC42}" type="datetimeFigureOut">
              <a:rPr lang="en-US" smtClean="0"/>
              <a:t>2/3/17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D58AE0-62DB-48E4-B81C-299BAAB312C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4427834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463071" y="6140464"/>
            <a:ext cx="12928601" cy="2559048"/>
          </a:xfrm>
        </p:spPr>
        <p:txBody>
          <a:bodyPr anchor="b"/>
          <a:lstStyle>
            <a:lvl1pPr marL="0" indent="0">
              <a:buNone/>
              <a:defRPr sz="5448" b="1"/>
            </a:lvl1pPr>
            <a:lvl2pPr marL="1035272" indent="0">
              <a:buNone/>
              <a:defRPr sz="4507" b="1"/>
            </a:lvl2pPr>
            <a:lvl3pPr marL="2070546" indent="0">
              <a:buNone/>
              <a:defRPr sz="4061" b="1"/>
            </a:lvl3pPr>
            <a:lvl4pPr marL="3105819" indent="0">
              <a:buNone/>
              <a:defRPr sz="3615" b="1"/>
            </a:lvl4pPr>
            <a:lvl5pPr marL="4141093" indent="0">
              <a:buNone/>
              <a:defRPr sz="3615" b="1"/>
            </a:lvl5pPr>
            <a:lvl6pPr marL="5176365" indent="0">
              <a:buNone/>
              <a:defRPr sz="3615" b="1"/>
            </a:lvl6pPr>
            <a:lvl7pPr marL="6211637" indent="0">
              <a:buNone/>
              <a:defRPr sz="3615" b="1"/>
            </a:lvl7pPr>
            <a:lvl8pPr marL="7246912" indent="0">
              <a:buNone/>
              <a:defRPr sz="3615" b="1"/>
            </a:lvl8pPr>
            <a:lvl9pPr marL="8282183" indent="0">
              <a:buNone/>
              <a:defRPr sz="3615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463071" y="8699505"/>
            <a:ext cx="12928601" cy="15805152"/>
          </a:xfrm>
        </p:spPr>
        <p:txBody>
          <a:bodyPr/>
          <a:lstStyle>
            <a:lvl1pPr>
              <a:defRPr sz="5448"/>
            </a:lvl1pPr>
            <a:lvl2pPr>
              <a:defRPr sz="4507"/>
            </a:lvl2pPr>
            <a:lvl3pPr>
              <a:defRPr sz="4061"/>
            </a:lvl3pPr>
            <a:lvl4pPr>
              <a:defRPr sz="3615"/>
            </a:lvl4pPr>
            <a:lvl5pPr>
              <a:defRPr sz="3615"/>
            </a:lvl5pPr>
            <a:lvl6pPr>
              <a:defRPr sz="3615"/>
            </a:lvl6pPr>
            <a:lvl7pPr>
              <a:defRPr sz="3615"/>
            </a:lvl7pPr>
            <a:lvl8pPr>
              <a:defRPr sz="3615"/>
            </a:lvl8pPr>
            <a:lvl9pPr>
              <a:defRPr sz="3615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14864084" y="6140464"/>
            <a:ext cx="12933680" cy="2559048"/>
          </a:xfrm>
        </p:spPr>
        <p:txBody>
          <a:bodyPr anchor="b"/>
          <a:lstStyle>
            <a:lvl1pPr marL="0" indent="0">
              <a:buNone/>
              <a:defRPr sz="5448" b="1"/>
            </a:lvl1pPr>
            <a:lvl2pPr marL="1035272" indent="0">
              <a:buNone/>
              <a:defRPr sz="4507" b="1"/>
            </a:lvl2pPr>
            <a:lvl3pPr marL="2070546" indent="0">
              <a:buNone/>
              <a:defRPr sz="4061" b="1"/>
            </a:lvl3pPr>
            <a:lvl4pPr marL="3105819" indent="0">
              <a:buNone/>
              <a:defRPr sz="3615" b="1"/>
            </a:lvl4pPr>
            <a:lvl5pPr marL="4141093" indent="0">
              <a:buNone/>
              <a:defRPr sz="3615" b="1"/>
            </a:lvl5pPr>
            <a:lvl6pPr marL="5176365" indent="0">
              <a:buNone/>
              <a:defRPr sz="3615" b="1"/>
            </a:lvl6pPr>
            <a:lvl7pPr marL="6211637" indent="0">
              <a:buNone/>
              <a:defRPr sz="3615" b="1"/>
            </a:lvl7pPr>
            <a:lvl8pPr marL="7246912" indent="0">
              <a:buNone/>
              <a:defRPr sz="3615" b="1"/>
            </a:lvl8pPr>
            <a:lvl9pPr marL="8282183" indent="0">
              <a:buNone/>
              <a:defRPr sz="3615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14864084" y="8699505"/>
            <a:ext cx="12933680" cy="15805152"/>
          </a:xfrm>
        </p:spPr>
        <p:txBody>
          <a:bodyPr/>
          <a:lstStyle>
            <a:lvl1pPr>
              <a:defRPr sz="5448"/>
            </a:lvl1pPr>
            <a:lvl2pPr>
              <a:defRPr sz="4507"/>
            </a:lvl2pPr>
            <a:lvl3pPr>
              <a:defRPr sz="4061"/>
            </a:lvl3pPr>
            <a:lvl4pPr>
              <a:defRPr sz="3615"/>
            </a:lvl4pPr>
            <a:lvl5pPr>
              <a:defRPr sz="3615"/>
            </a:lvl5pPr>
            <a:lvl6pPr>
              <a:defRPr sz="3615"/>
            </a:lvl6pPr>
            <a:lvl7pPr>
              <a:defRPr sz="3615"/>
            </a:lvl7pPr>
            <a:lvl8pPr>
              <a:defRPr sz="3615"/>
            </a:lvl8pPr>
            <a:lvl9pPr>
              <a:defRPr sz="3615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4581AD-2B9E-4695-84CD-BB129D18CC42}" type="datetimeFigureOut">
              <a:rPr lang="en-US" smtClean="0"/>
              <a:t>2/3/17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D58AE0-62DB-48E4-B81C-299BAAB312C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4764119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4581AD-2B9E-4695-84CD-BB129D18CC42}" type="datetimeFigureOut">
              <a:rPr lang="en-US" smtClean="0"/>
              <a:t>2/3/17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D58AE0-62DB-48E4-B81C-299BAAB312C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6989662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4581AD-2B9E-4695-84CD-BB129D18CC42}" type="datetimeFigureOut">
              <a:rPr lang="en-US" smtClean="0"/>
              <a:t>2/3/17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D58AE0-62DB-48E4-B81C-299BAAB312C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243731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63076" y="1092198"/>
            <a:ext cx="9626602" cy="4648200"/>
          </a:xfrm>
        </p:spPr>
        <p:txBody>
          <a:bodyPr anchor="b"/>
          <a:lstStyle>
            <a:lvl1pPr algn="l">
              <a:defRPr sz="4507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1440160" y="1092220"/>
            <a:ext cx="16357600" cy="23412454"/>
          </a:xfrm>
        </p:spPr>
        <p:txBody>
          <a:bodyPr/>
          <a:lstStyle>
            <a:lvl1pPr>
              <a:defRPr sz="7230"/>
            </a:lvl1pPr>
            <a:lvl2pPr>
              <a:defRPr sz="6339"/>
            </a:lvl2pPr>
            <a:lvl3pPr>
              <a:defRPr sz="5448"/>
            </a:lvl3pPr>
            <a:lvl4pPr>
              <a:defRPr sz="4507"/>
            </a:lvl4pPr>
            <a:lvl5pPr>
              <a:defRPr sz="4507"/>
            </a:lvl5pPr>
            <a:lvl6pPr>
              <a:defRPr sz="4507"/>
            </a:lvl6pPr>
            <a:lvl7pPr>
              <a:defRPr sz="4507"/>
            </a:lvl7pPr>
            <a:lvl8pPr>
              <a:defRPr sz="4507"/>
            </a:lvl8pPr>
            <a:lvl9pPr>
              <a:defRPr sz="4507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463076" y="5740420"/>
            <a:ext cx="9626602" cy="18764254"/>
          </a:xfrm>
        </p:spPr>
        <p:txBody>
          <a:bodyPr/>
          <a:lstStyle>
            <a:lvl1pPr marL="0" indent="0">
              <a:buNone/>
              <a:defRPr sz="3170"/>
            </a:lvl1pPr>
            <a:lvl2pPr marL="1035272" indent="0">
              <a:buNone/>
              <a:defRPr sz="2724"/>
            </a:lvl2pPr>
            <a:lvl3pPr marL="2070546" indent="0">
              <a:buNone/>
              <a:defRPr sz="2278"/>
            </a:lvl3pPr>
            <a:lvl4pPr marL="3105819" indent="0">
              <a:buNone/>
              <a:defRPr sz="2030"/>
            </a:lvl4pPr>
            <a:lvl5pPr marL="4141093" indent="0">
              <a:buNone/>
              <a:defRPr sz="2030"/>
            </a:lvl5pPr>
            <a:lvl6pPr marL="5176365" indent="0">
              <a:buNone/>
              <a:defRPr sz="2030"/>
            </a:lvl6pPr>
            <a:lvl7pPr marL="6211637" indent="0">
              <a:buNone/>
              <a:defRPr sz="2030"/>
            </a:lvl7pPr>
            <a:lvl8pPr marL="7246912" indent="0">
              <a:buNone/>
              <a:defRPr sz="2030"/>
            </a:lvl8pPr>
            <a:lvl9pPr marL="8282183" indent="0">
              <a:buNone/>
              <a:defRPr sz="203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4581AD-2B9E-4695-84CD-BB129D18CC42}" type="datetimeFigureOut">
              <a:rPr lang="en-US" smtClean="0"/>
              <a:t>2/3/17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D58AE0-62DB-48E4-B81C-299BAAB312C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3621874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11.xml"/><Relationship Id="rId12" Type="http://schemas.openxmlformats.org/officeDocument/2006/relationships/slideLayout" Target="../slideLayouts/slideLayout12.xml"/><Relationship Id="rId13" Type="http://schemas.openxmlformats.org/officeDocument/2006/relationships/theme" Target="../theme/theme1.xml"/><Relationship Id="rId14" Type="http://schemas.openxmlformats.org/officeDocument/2006/relationships/vmlDrawing" Target="../drawings/vmlDrawing1.vml"/><Relationship Id="rId15" Type="http://schemas.openxmlformats.org/officeDocument/2006/relationships/tags" Target="../tags/tag2.xml"/><Relationship Id="rId16" Type="http://schemas.openxmlformats.org/officeDocument/2006/relationships/oleObject" Target="../embeddings/oleObject1.bin"/><Relationship Id="rId17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Relationship Id="rId9" Type="http://schemas.openxmlformats.org/officeDocument/2006/relationships/slideLayout" Target="../slideLayouts/slideLayout9.xml"/><Relationship Id="rId10" Type="http://schemas.openxmlformats.org/officeDocument/2006/relationships/slideLayout" Target="../slideLayouts/slideLayout1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2173571479"/>
              </p:ext>
            </p:extLst>
          </p:nvPr>
        </p:nvGraphicFramePr>
        <p:xfrm>
          <a:off x="2153" y="852"/>
          <a:ext cx="2117" cy="85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23" name="think-cell Slide" r:id="rId16" imgW="270" imgH="270" progId="TCLayout.ActiveDocument.1">
                  <p:embed/>
                </p:oleObj>
              </mc:Choice>
              <mc:Fallback>
                <p:oleObj name="think-cell Slide" r:id="rId1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2153" y="852"/>
                        <a:ext cx="2117" cy="85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463040" y="1098552"/>
            <a:ext cx="26334720" cy="4572000"/>
          </a:xfrm>
          <a:prstGeom prst="rect">
            <a:avLst/>
          </a:prstGeom>
        </p:spPr>
        <p:txBody>
          <a:bodyPr vert="horz" lIns="418009" tIns="209004" rIns="418009" bIns="209004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463040" y="6400811"/>
            <a:ext cx="26334720" cy="18103851"/>
          </a:xfrm>
          <a:prstGeom prst="rect">
            <a:avLst/>
          </a:prstGeom>
        </p:spPr>
        <p:txBody>
          <a:bodyPr vert="horz" lIns="418009" tIns="209004" rIns="418009" bIns="209004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463040" y="25425416"/>
            <a:ext cx="6827520" cy="1460502"/>
          </a:xfrm>
          <a:prstGeom prst="rect">
            <a:avLst/>
          </a:prstGeom>
        </p:spPr>
        <p:txBody>
          <a:bodyPr vert="horz" lIns="418009" tIns="209004" rIns="418009" bIns="209004" rtlCol="0" anchor="ctr"/>
          <a:lstStyle>
            <a:lvl1pPr algn="l">
              <a:defRPr sz="2724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54581AD-2B9E-4695-84CD-BB129D18CC42}" type="datetimeFigureOut">
              <a:rPr lang="en-US" smtClean="0"/>
              <a:t>2/3/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9997440" y="25425416"/>
            <a:ext cx="9265920" cy="1460502"/>
          </a:xfrm>
          <a:prstGeom prst="rect">
            <a:avLst/>
          </a:prstGeom>
        </p:spPr>
        <p:txBody>
          <a:bodyPr vert="horz" lIns="418009" tIns="209004" rIns="418009" bIns="209004" rtlCol="0" anchor="ctr"/>
          <a:lstStyle>
            <a:lvl1pPr algn="ctr">
              <a:defRPr sz="2724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20970240" y="25425416"/>
            <a:ext cx="6827520" cy="1460502"/>
          </a:xfrm>
          <a:prstGeom prst="rect">
            <a:avLst/>
          </a:prstGeom>
        </p:spPr>
        <p:txBody>
          <a:bodyPr vert="horz" lIns="418009" tIns="209004" rIns="418009" bIns="209004" rtlCol="0" anchor="ctr"/>
          <a:lstStyle>
            <a:lvl1pPr algn="r">
              <a:defRPr sz="2724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CD58AE0-62DB-48E4-B81C-299BAAB312C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731319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0" r:id="rId2"/>
    <p:sldLayoutId id="2147483650" r:id="rId3"/>
    <p:sldLayoutId id="2147483651" r:id="rId4"/>
    <p:sldLayoutId id="2147483652" r:id="rId5"/>
    <p:sldLayoutId id="2147483653" r:id="rId6"/>
    <p:sldLayoutId id="2147483654" r:id="rId7"/>
    <p:sldLayoutId id="2147483655" r:id="rId8"/>
    <p:sldLayoutId id="2147483656" r:id="rId9"/>
    <p:sldLayoutId id="2147483657" r:id="rId10"/>
    <p:sldLayoutId id="2147483658" r:id="rId11"/>
    <p:sldLayoutId id="2147483659" r:id="rId12"/>
  </p:sldLayoutIdLst>
  <p:timing>
    <p:tnLst>
      <p:par>
        <p:cTn id="1" dur="indefinite" restart="never" nodeType="tmRoot"/>
      </p:par>
    </p:tnLst>
  </p:timing>
  <p:txStyles>
    <p:titleStyle>
      <a:lvl1pPr algn="ctr" defTabSz="2070546" rtl="0" eaLnBrk="1" latinLnBrk="0" hangingPunct="1">
        <a:spcBef>
          <a:spcPct val="0"/>
        </a:spcBef>
        <a:buNone/>
        <a:defRPr sz="9958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776456" indent="-776456" algn="l" defTabSz="2070546" rtl="0" eaLnBrk="1" latinLnBrk="0" hangingPunct="1">
        <a:spcBef>
          <a:spcPct val="20000"/>
        </a:spcBef>
        <a:buFont typeface="Arial" panose="020B0604020202020204" pitchFamily="34" charset="0"/>
        <a:buChar char="•"/>
        <a:defRPr sz="7230" kern="1200">
          <a:solidFill>
            <a:schemeClr val="tx1"/>
          </a:solidFill>
          <a:latin typeface="+mn-lt"/>
          <a:ea typeface="+mn-ea"/>
          <a:cs typeface="+mn-cs"/>
        </a:defRPr>
      </a:lvl1pPr>
      <a:lvl2pPr marL="1682318" indent="-647046" algn="l" defTabSz="2070546" rtl="0" eaLnBrk="1" latinLnBrk="0" hangingPunct="1">
        <a:spcBef>
          <a:spcPct val="20000"/>
        </a:spcBef>
        <a:buFont typeface="Arial" panose="020B0604020202020204" pitchFamily="34" charset="0"/>
        <a:buChar char="–"/>
        <a:defRPr sz="6339" kern="1200">
          <a:solidFill>
            <a:schemeClr val="tx1"/>
          </a:solidFill>
          <a:latin typeface="+mn-lt"/>
          <a:ea typeface="+mn-ea"/>
          <a:cs typeface="+mn-cs"/>
        </a:defRPr>
      </a:lvl2pPr>
      <a:lvl3pPr marL="2588183" indent="-517637" algn="l" defTabSz="2070546" rtl="0" eaLnBrk="1" latinLnBrk="0" hangingPunct="1">
        <a:spcBef>
          <a:spcPct val="20000"/>
        </a:spcBef>
        <a:buFont typeface="Arial" panose="020B0604020202020204" pitchFamily="34" charset="0"/>
        <a:buChar char="•"/>
        <a:defRPr sz="5448" kern="1200">
          <a:solidFill>
            <a:schemeClr val="tx1"/>
          </a:solidFill>
          <a:latin typeface="+mn-lt"/>
          <a:ea typeface="+mn-ea"/>
          <a:cs typeface="+mn-cs"/>
        </a:defRPr>
      </a:lvl3pPr>
      <a:lvl4pPr marL="3623458" indent="-517637" algn="l" defTabSz="2070546" rtl="0" eaLnBrk="1" latinLnBrk="0" hangingPunct="1">
        <a:spcBef>
          <a:spcPct val="20000"/>
        </a:spcBef>
        <a:buFont typeface="Arial" panose="020B0604020202020204" pitchFamily="34" charset="0"/>
        <a:buChar char="–"/>
        <a:defRPr sz="4507" kern="1200">
          <a:solidFill>
            <a:schemeClr val="tx1"/>
          </a:solidFill>
          <a:latin typeface="+mn-lt"/>
          <a:ea typeface="+mn-ea"/>
          <a:cs typeface="+mn-cs"/>
        </a:defRPr>
      </a:lvl4pPr>
      <a:lvl5pPr marL="4658729" indent="-517637" algn="l" defTabSz="2070546" rtl="0" eaLnBrk="1" latinLnBrk="0" hangingPunct="1">
        <a:spcBef>
          <a:spcPct val="20000"/>
        </a:spcBef>
        <a:buFont typeface="Arial" panose="020B0604020202020204" pitchFamily="34" charset="0"/>
        <a:buChar char="»"/>
        <a:defRPr sz="4507" kern="1200">
          <a:solidFill>
            <a:schemeClr val="tx1"/>
          </a:solidFill>
          <a:latin typeface="+mn-lt"/>
          <a:ea typeface="+mn-ea"/>
          <a:cs typeface="+mn-cs"/>
        </a:defRPr>
      </a:lvl5pPr>
      <a:lvl6pPr marL="5694001" indent="-517637" algn="l" defTabSz="2070546" rtl="0" eaLnBrk="1" latinLnBrk="0" hangingPunct="1">
        <a:spcBef>
          <a:spcPct val="20000"/>
        </a:spcBef>
        <a:buFont typeface="Arial" panose="020B0604020202020204" pitchFamily="34" charset="0"/>
        <a:buChar char="•"/>
        <a:defRPr sz="4507" kern="1200">
          <a:solidFill>
            <a:schemeClr val="tx1"/>
          </a:solidFill>
          <a:latin typeface="+mn-lt"/>
          <a:ea typeface="+mn-ea"/>
          <a:cs typeface="+mn-cs"/>
        </a:defRPr>
      </a:lvl6pPr>
      <a:lvl7pPr marL="6729275" indent="-517637" algn="l" defTabSz="2070546" rtl="0" eaLnBrk="1" latinLnBrk="0" hangingPunct="1">
        <a:spcBef>
          <a:spcPct val="20000"/>
        </a:spcBef>
        <a:buFont typeface="Arial" panose="020B0604020202020204" pitchFamily="34" charset="0"/>
        <a:buChar char="•"/>
        <a:defRPr sz="4507" kern="1200">
          <a:solidFill>
            <a:schemeClr val="tx1"/>
          </a:solidFill>
          <a:latin typeface="+mn-lt"/>
          <a:ea typeface="+mn-ea"/>
          <a:cs typeface="+mn-cs"/>
        </a:defRPr>
      </a:lvl7pPr>
      <a:lvl8pPr marL="7764548" indent="-517637" algn="l" defTabSz="2070546" rtl="0" eaLnBrk="1" latinLnBrk="0" hangingPunct="1">
        <a:spcBef>
          <a:spcPct val="20000"/>
        </a:spcBef>
        <a:buFont typeface="Arial" panose="020B0604020202020204" pitchFamily="34" charset="0"/>
        <a:buChar char="•"/>
        <a:defRPr sz="4507" kern="1200">
          <a:solidFill>
            <a:schemeClr val="tx1"/>
          </a:solidFill>
          <a:latin typeface="+mn-lt"/>
          <a:ea typeface="+mn-ea"/>
          <a:cs typeface="+mn-cs"/>
        </a:defRPr>
      </a:lvl8pPr>
      <a:lvl9pPr marL="8799823" indent="-517637" algn="l" defTabSz="2070546" rtl="0" eaLnBrk="1" latinLnBrk="0" hangingPunct="1">
        <a:spcBef>
          <a:spcPct val="20000"/>
        </a:spcBef>
        <a:buFont typeface="Arial" panose="020B0604020202020204" pitchFamily="34" charset="0"/>
        <a:buChar char="•"/>
        <a:defRPr sz="450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2070546" rtl="0" eaLnBrk="1" latinLnBrk="0" hangingPunct="1">
        <a:defRPr sz="4061" kern="1200">
          <a:solidFill>
            <a:schemeClr val="tx1"/>
          </a:solidFill>
          <a:latin typeface="+mn-lt"/>
          <a:ea typeface="+mn-ea"/>
          <a:cs typeface="+mn-cs"/>
        </a:defRPr>
      </a:lvl1pPr>
      <a:lvl2pPr marL="1035272" algn="l" defTabSz="2070546" rtl="0" eaLnBrk="1" latinLnBrk="0" hangingPunct="1">
        <a:defRPr sz="4061" kern="1200">
          <a:solidFill>
            <a:schemeClr val="tx1"/>
          </a:solidFill>
          <a:latin typeface="+mn-lt"/>
          <a:ea typeface="+mn-ea"/>
          <a:cs typeface="+mn-cs"/>
        </a:defRPr>
      </a:lvl2pPr>
      <a:lvl3pPr marL="2070546" algn="l" defTabSz="2070546" rtl="0" eaLnBrk="1" latinLnBrk="0" hangingPunct="1">
        <a:defRPr sz="4061" kern="1200">
          <a:solidFill>
            <a:schemeClr val="tx1"/>
          </a:solidFill>
          <a:latin typeface="+mn-lt"/>
          <a:ea typeface="+mn-ea"/>
          <a:cs typeface="+mn-cs"/>
        </a:defRPr>
      </a:lvl3pPr>
      <a:lvl4pPr marL="3105819" algn="l" defTabSz="2070546" rtl="0" eaLnBrk="1" latinLnBrk="0" hangingPunct="1">
        <a:defRPr sz="4061" kern="1200">
          <a:solidFill>
            <a:schemeClr val="tx1"/>
          </a:solidFill>
          <a:latin typeface="+mn-lt"/>
          <a:ea typeface="+mn-ea"/>
          <a:cs typeface="+mn-cs"/>
        </a:defRPr>
      </a:lvl4pPr>
      <a:lvl5pPr marL="4141093" algn="l" defTabSz="2070546" rtl="0" eaLnBrk="1" latinLnBrk="0" hangingPunct="1">
        <a:defRPr sz="4061" kern="1200">
          <a:solidFill>
            <a:schemeClr val="tx1"/>
          </a:solidFill>
          <a:latin typeface="+mn-lt"/>
          <a:ea typeface="+mn-ea"/>
          <a:cs typeface="+mn-cs"/>
        </a:defRPr>
      </a:lvl5pPr>
      <a:lvl6pPr marL="5176365" algn="l" defTabSz="2070546" rtl="0" eaLnBrk="1" latinLnBrk="0" hangingPunct="1">
        <a:defRPr sz="4061" kern="1200">
          <a:solidFill>
            <a:schemeClr val="tx1"/>
          </a:solidFill>
          <a:latin typeface="+mn-lt"/>
          <a:ea typeface="+mn-ea"/>
          <a:cs typeface="+mn-cs"/>
        </a:defRPr>
      </a:lvl6pPr>
      <a:lvl7pPr marL="6211637" algn="l" defTabSz="2070546" rtl="0" eaLnBrk="1" latinLnBrk="0" hangingPunct="1">
        <a:defRPr sz="4061" kern="1200">
          <a:solidFill>
            <a:schemeClr val="tx1"/>
          </a:solidFill>
          <a:latin typeface="+mn-lt"/>
          <a:ea typeface="+mn-ea"/>
          <a:cs typeface="+mn-cs"/>
        </a:defRPr>
      </a:lvl7pPr>
      <a:lvl8pPr marL="7246912" algn="l" defTabSz="2070546" rtl="0" eaLnBrk="1" latinLnBrk="0" hangingPunct="1">
        <a:defRPr sz="4061" kern="1200">
          <a:solidFill>
            <a:schemeClr val="tx1"/>
          </a:solidFill>
          <a:latin typeface="+mn-lt"/>
          <a:ea typeface="+mn-ea"/>
          <a:cs typeface="+mn-cs"/>
        </a:defRPr>
      </a:lvl8pPr>
      <a:lvl9pPr marL="8282183" algn="l" defTabSz="2070546" rtl="0" eaLnBrk="1" latinLnBrk="0" hangingPunct="1">
        <a:defRPr sz="406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1" Type="http://schemas.openxmlformats.org/officeDocument/2006/relationships/image" Target="../media/image10.png"/><Relationship Id="rId12" Type="http://schemas.openxmlformats.org/officeDocument/2006/relationships/image" Target="../media/image11.png"/><Relationship Id="rId13" Type="http://schemas.openxmlformats.org/officeDocument/2006/relationships/image" Target="../media/image12.tiff"/><Relationship Id="rId14" Type="http://schemas.openxmlformats.org/officeDocument/2006/relationships/image" Target="../media/image13.tiff"/><Relationship Id="rId1" Type="http://schemas.openxmlformats.org/officeDocument/2006/relationships/slideLayout" Target="../slideLayouts/slideLayout8.xml"/><Relationship Id="rId2" Type="http://schemas.openxmlformats.org/officeDocument/2006/relationships/image" Target="../media/image2.png"/><Relationship Id="rId3" Type="http://schemas.openxmlformats.org/officeDocument/2006/relationships/image" Target="../media/image3.jpeg"/><Relationship Id="rId4" Type="http://schemas.openxmlformats.org/officeDocument/2006/relationships/image" Target="../media/image4.png"/><Relationship Id="rId5" Type="http://schemas.openxmlformats.org/officeDocument/2006/relationships/image" Target="../media/image5.png"/><Relationship Id="rId6" Type="http://schemas.openxmlformats.org/officeDocument/2006/relationships/image" Target="../media/image6.png"/><Relationship Id="rId7" Type="http://schemas.openxmlformats.org/officeDocument/2006/relationships/chart" Target="../charts/chart1.xml"/><Relationship Id="rId8" Type="http://schemas.openxmlformats.org/officeDocument/2006/relationships/image" Target="../media/image7.tiff"/><Relationship Id="rId9" Type="http://schemas.openxmlformats.org/officeDocument/2006/relationships/image" Target="../media/image8.png"/><Relationship Id="rId10" Type="http://schemas.openxmlformats.org/officeDocument/2006/relationships/image" Target="../media/image9.tif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Box 10"/>
          <p:cNvSpPr txBox="1"/>
          <p:nvPr/>
        </p:nvSpPr>
        <p:spPr>
          <a:xfrm>
            <a:off x="5879659" y="422870"/>
            <a:ext cx="17251326" cy="117384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7028" dirty="0"/>
              <a:t>Abstractions for programming line-rate routers</a:t>
            </a:r>
          </a:p>
        </p:txBody>
      </p:sp>
      <p:pic>
        <p:nvPicPr>
          <p:cNvPr id="18" name="Picture 17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11856" y="3126345"/>
            <a:ext cx="3295443" cy="801458"/>
          </a:xfrm>
          <a:prstGeom prst="rect">
            <a:avLst/>
          </a:prstGeom>
        </p:spPr>
      </p:pic>
      <p:pic>
        <p:nvPicPr>
          <p:cNvPr id="19" name="Picture 18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51106" y="3126360"/>
            <a:ext cx="2615647" cy="878694"/>
          </a:xfrm>
          <a:prstGeom prst="rect">
            <a:avLst/>
          </a:prstGeom>
        </p:spPr>
      </p:pic>
      <p:pic>
        <p:nvPicPr>
          <p:cNvPr id="20" name="Picture 19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524514" y="2922304"/>
            <a:ext cx="2884858" cy="1265289"/>
          </a:xfrm>
          <a:prstGeom prst="rect">
            <a:avLst/>
          </a:prstGeom>
        </p:spPr>
      </p:pic>
      <p:pic>
        <p:nvPicPr>
          <p:cNvPr id="21" name="Picture 20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044913" y="3152324"/>
            <a:ext cx="2297030" cy="637765"/>
          </a:xfrm>
          <a:prstGeom prst="rect">
            <a:avLst/>
          </a:prstGeom>
        </p:spPr>
      </p:pic>
      <p:pic>
        <p:nvPicPr>
          <p:cNvPr id="22" name="Picture 21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92390" y="2808521"/>
            <a:ext cx="2067783" cy="1621671"/>
          </a:xfrm>
          <a:prstGeom prst="rect">
            <a:avLst/>
          </a:prstGeom>
        </p:spPr>
      </p:pic>
      <p:sp>
        <p:nvSpPr>
          <p:cNvPr id="23" name="Rounded Rectangle 22"/>
          <p:cNvSpPr/>
          <p:nvPr/>
        </p:nvSpPr>
        <p:spPr>
          <a:xfrm>
            <a:off x="1269039" y="4559422"/>
            <a:ext cx="9165068" cy="3398403"/>
          </a:xfrm>
          <a:prstGeom prst="roundRect">
            <a:avLst/>
          </a:prstGeom>
          <a:noFill/>
          <a:ln w="1270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028"/>
          </a:p>
        </p:txBody>
      </p:sp>
      <p:sp>
        <p:nvSpPr>
          <p:cNvPr id="25" name="Content Placeholder 2"/>
          <p:cNvSpPr txBox="1">
            <a:spLocks/>
          </p:cNvSpPr>
          <p:nvPr/>
        </p:nvSpPr>
        <p:spPr>
          <a:xfrm>
            <a:off x="1269050" y="5215698"/>
            <a:ext cx="8954416" cy="2143119"/>
          </a:xfrm>
          <a:prstGeom prst="rect">
            <a:avLst/>
          </a:prstGeom>
        </p:spPr>
        <p:txBody>
          <a:bodyPr vert="horz" lIns="310521" tIns="155260" rIns="310521" bIns="155260" rtlCol="0">
            <a:noAutofit/>
          </a:bodyPr>
          <a:lstStyle>
            <a:lvl1pPr marL="0" indent="0" algn="ctr" defTabSz="4180088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4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2090044" indent="0" algn="ctr" defTabSz="4180088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4180088" indent="0" algn="ctr" defTabSz="4180088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6270132" indent="0" algn="ctr" defTabSz="4180088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91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8360176" indent="0" algn="ctr" defTabSz="4180088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91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0450220" indent="0" algn="ctr" defTabSz="4180088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91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12540264" indent="0" algn="ctr" defTabSz="4180088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91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4630309" indent="0" algn="ctr" defTabSz="4180088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91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16720353" indent="0" algn="ctr" defTabSz="4180088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91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339634" indent="-339634" algn="l">
              <a:buFont typeface="Arial" panose="020B0604020202020204" pitchFamily="34" charset="0"/>
              <a:buChar char="•"/>
            </a:pPr>
            <a:r>
              <a:rPr lang="en-US" sz="2080" dirty="0">
                <a:solidFill>
                  <a:schemeClr val="tx1"/>
                </a:solidFill>
                <a:latin typeface="Gadugi"/>
              </a:rPr>
              <a:t>Programming: Can we implement a new data-plane algorithm?</a:t>
            </a:r>
          </a:p>
          <a:p>
            <a:pPr marL="787815" lvl="1" indent="-262605" algn="l">
              <a:buFont typeface="Arial" charset="0"/>
              <a:buChar char="•"/>
            </a:pPr>
            <a:r>
              <a:rPr lang="en-US" sz="2083" dirty="0">
                <a:solidFill>
                  <a:schemeClr val="tx1"/>
                </a:solidFill>
                <a:latin typeface="Gadugi"/>
              </a:rPr>
              <a:t>AQM</a:t>
            </a:r>
          </a:p>
          <a:p>
            <a:pPr marL="787815" lvl="1" indent="-262605" algn="l">
              <a:buFont typeface="Arial" charset="0"/>
              <a:buChar char="•"/>
            </a:pPr>
            <a:r>
              <a:rPr lang="en-US" sz="2083" dirty="0">
                <a:solidFill>
                  <a:schemeClr val="tx1"/>
                </a:solidFill>
                <a:latin typeface="Gadugi"/>
              </a:rPr>
              <a:t>Scheduling</a:t>
            </a:r>
          </a:p>
          <a:p>
            <a:pPr marL="787815" lvl="1" indent="-262605" algn="l">
              <a:buFont typeface="Arial" charset="0"/>
              <a:buChar char="•"/>
            </a:pPr>
            <a:r>
              <a:rPr lang="en-US" sz="2083" dirty="0">
                <a:solidFill>
                  <a:schemeClr val="tx1"/>
                </a:solidFill>
                <a:latin typeface="Gadugi"/>
              </a:rPr>
              <a:t>Congestion control</a:t>
            </a:r>
          </a:p>
          <a:p>
            <a:pPr marL="787815" lvl="1" indent="-262605" algn="l">
              <a:buFont typeface="Arial" charset="0"/>
              <a:buChar char="•"/>
            </a:pPr>
            <a:r>
              <a:rPr lang="en-US" sz="2083" dirty="0">
                <a:solidFill>
                  <a:schemeClr val="tx1"/>
                </a:solidFill>
                <a:latin typeface="Gadugi"/>
              </a:rPr>
              <a:t>Load balancing</a:t>
            </a:r>
          </a:p>
          <a:p>
            <a:pPr marL="339634" indent="-339634" algn="l">
              <a:buFont typeface="Arial" panose="020B0604020202020204" pitchFamily="34" charset="0"/>
              <a:buChar char="•"/>
            </a:pPr>
            <a:r>
              <a:rPr lang="en-US" sz="2083" dirty="0">
                <a:solidFill>
                  <a:schemeClr val="tx1"/>
                </a:solidFill>
                <a:latin typeface="Gadugi"/>
              </a:rPr>
              <a:t>L</a:t>
            </a:r>
            <a:r>
              <a:rPr lang="en-US" sz="2080" dirty="0">
                <a:solidFill>
                  <a:schemeClr val="tx1"/>
                </a:solidFill>
                <a:latin typeface="Gadugi"/>
              </a:rPr>
              <a:t>ine rate: Highest speed supported by dedicated hardware</a:t>
            </a:r>
          </a:p>
        </p:txBody>
      </p:sp>
      <p:sp>
        <p:nvSpPr>
          <p:cNvPr id="26" name="Title 1"/>
          <p:cNvSpPr txBox="1">
            <a:spLocks/>
          </p:cNvSpPr>
          <p:nvPr/>
        </p:nvSpPr>
        <p:spPr>
          <a:xfrm>
            <a:off x="1608800" y="4422287"/>
            <a:ext cx="6631119" cy="984704"/>
          </a:xfrm>
          <a:prstGeom prst="rect">
            <a:avLst/>
          </a:prstGeom>
        </p:spPr>
        <p:txBody>
          <a:bodyPr vert="horz" lIns="67927" tIns="33963" rIns="67927" bIns="33963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rgbClr val="C00000"/>
                </a:solidFill>
                <a:latin typeface="Gadugi" panose="020B0502040204020203" pitchFamily="34" charset="0"/>
                <a:ea typeface="+mj-ea"/>
                <a:cs typeface="+mj-cs"/>
              </a:defRPr>
            </a:lvl1pPr>
          </a:lstStyle>
          <a:p>
            <a:r>
              <a:rPr lang="en-US" sz="2377" b="1" dirty="0"/>
              <a:t>Programming router data planes at line rate</a:t>
            </a:r>
          </a:p>
        </p:txBody>
      </p:sp>
      <p:sp>
        <p:nvSpPr>
          <p:cNvPr id="27" name="Rounded Rectangle 26"/>
          <p:cNvSpPr/>
          <p:nvPr/>
        </p:nvSpPr>
        <p:spPr>
          <a:xfrm>
            <a:off x="1299482" y="8810363"/>
            <a:ext cx="9134631" cy="5511536"/>
          </a:xfrm>
          <a:prstGeom prst="roundRect">
            <a:avLst/>
          </a:prstGeom>
          <a:noFill/>
          <a:ln w="1270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028"/>
          </a:p>
        </p:txBody>
      </p:sp>
      <p:sp>
        <p:nvSpPr>
          <p:cNvPr id="29" name="Title 1"/>
          <p:cNvSpPr txBox="1">
            <a:spLocks/>
          </p:cNvSpPr>
          <p:nvPr/>
        </p:nvSpPr>
        <p:spPr>
          <a:xfrm>
            <a:off x="1641051" y="8747127"/>
            <a:ext cx="6736977" cy="984704"/>
          </a:xfrm>
          <a:prstGeom prst="rect">
            <a:avLst/>
          </a:prstGeom>
        </p:spPr>
        <p:txBody>
          <a:bodyPr vert="horz" lIns="67927" tIns="33963" rIns="67927" bIns="33963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rgbClr val="C00000"/>
                </a:solidFill>
                <a:latin typeface="Gadugi" panose="020B0502040204020203" pitchFamily="34" charset="0"/>
                <a:ea typeface="+mj-ea"/>
                <a:cs typeface="+mj-cs"/>
              </a:defRPr>
            </a:lvl1pPr>
          </a:lstStyle>
          <a:p>
            <a:r>
              <a:rPr lang="en-US" sz="2377" b="1" dirty="0"/>
              <a:t>The evolution of programmable routers</a:t>
            </a:r>
          </a:p>
        </p:txBody>
      </p:sp>
      <p:sp>
        <p:nvSpPr>
          <p:cNvPr id="30" name="Rounded Rectangle 29"/>
          <p:cNvSpPr/>
          <p:nvPr/>
        </p:nvSpPr>
        <p:spPr>
          <a:xfrm>
            <a:off x="1259589" y="22158138"/>
            <a:ext cx="9128885" cy="4294155"/>
          </a:xfrm>
          <a:prstGeom prst="roundRect">
            <a:avLst/>
          </a:prstGeom>
          <a:noFill/>
          <a:ln w="1270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028"/>
          </a:p>
        </p:txBody>
      </p:sp>
      <p:sp>
        <p:nvSpPr>
          <p:cNvPr id="32" name="Title 1"/>
          <p:cNvSpPr txBox="1">
            <a:spLocks/>
          </p:cNvSpPr>
          <p:nvPr/>
        </p:nvSpPr>
        <p:spPr>
          <a:xfrm>
            <a:off x="1693981" y="15530097"/>
            <a:ext cx="6631119" cy="984704"/>
          </a:xfrm>
          <a:prstGeom prst="rect">
            <a:avLst/>
          </a:prstGeom>
        </p:spPr>
        <p:txBody>
          <a:bodyPr vert="horz" lIns="67927" tIns="33963" rIns="67927" bIns="33963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rgbClr val="C00000"/>
                </a:solidFill>
                <a:latin typeface="Gadugi" panose="020B0502040204020203" pitchFamily="34" charset="0"/>
                <a:ea typeface="+mj-ea"/>
                <a:cs typeface="+mj-cs"/>
              </a:defRPr>
            </a:lvl1pPr>
          </a:lstStyle>
          <a:p>
            <a:r>
              <a:rPr lang="en-US" sz="2377" b="1" dirty="0"/>
              <a:t>Programmable switching chips</a:t>
            </a:r>
          </a:p>
        </p:txBody>
      </p:sp>
      <p:sp>
        <p:nvSpPr>
          <p:cNvPr id="419" name="Rounded Rectangle 418"/>
          <p:cNvSpPr/>
          <p:nvPr/>
        </p:nvSpPr>
        <p:spPr>
          <a:xfrm>
            <a:off x="10892853" y="4559409"/>
            <a:ext cx="8486084" cy="4863485"/>
          </a:xfrm>
          <a:prstGeom prst="roundRect">
            <a:avLst/>
          </a:prstGeom>
          <a:noFill/>
          <a:ln w="1270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028"/>
          </a:p>
        </p:txBody>
      </p:sp>
      <p:sp>
        <p:nvSpPr>
          <p:cNvPr id="420" name="Title 1"/>
          <p:cNvSpPr txBox="1">
            <a:spLocks/>
          </p:cNvSpPr>
          <p:nvPr/>
        </p:nvSpPr>
        <p:spPr>
          <a:xfrm>
            <a:off x="11329546" y="4464032"/>
            <a:ext cx="8721947" cy="1087687"/>
          </a:xfrm>
          <a:prstGeom prst="rect">
            <a:avLst/>
          </a:prstGeom>
        </p:spPr>
        <p:txBody>
          <a:bodyPr vert="horz" lIns="67927" tIns="33963" rIns="67927" bIns="33963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rgbClr val="C00000"/>
                </a:solidFill>
                <a:latin typeface="Gadugi" panose="020B0502040204020203" pitchFamily="34" charset="0"/>
                <a:ea typeface="+mj-ea"/>
                <a:cs typeface="+mj-cs"/>
              </a:defRPr>
            </a:lvl1pPr>
          </a:lstStyle>
          <a:p>
            <a:r>
              <a:rPr lang="en-US" sz="2377" b="1" dirty="0"/>
              <a:t>Packet transactions: high-level data-plane programming</a:t>
            </a:r>
          </a:p>
        </p:txBody>
      </p:sp>
      <p:sp>
        <p:nvSpPr>
          <p:cNvPr id="1076" name="Rounded Rectangle 1075"/>
          <p:cNvSpPr/>
          <p:nvPr/>
        </p:nvSpPr>
        <p:spPr>
          <a:xfrm>
            <a:off x="19986190" y="4559415"/>
            <a:ext cx="8039031" cy="4057594"/>
          </a:xfrm>
          <a:prstGeom prst="roundRect">
            <a:avLst/>
          </a:prstGeom>
          <a:noFill/>
          <a:ln w="1270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028"/>
          </a:p>
        </p:txBody>
      </p:sp>
      <p:sp>
        <p:nvSpPr>
          <p:cNvPr id="1077" name="Title 1"/>
          <p:cNvSpPr txBox="1">
            <a:spLocks/>
          </p:cNvSpPr>
          <p:nvPr/>
        </p:nvSpPr>
        <p:spPr>
          <a:xfrm>
            <a:off x="20682409" y="4363780"/>
            <a:ext cx="6631119" cy="1087687"/>
          </a:xfrm>
          <a:prstGeom prst="rect">
            <a:avLst/>
          </a:prstGeom>
        </p:spPr>
        <p:txBody>
          <a:bodyPr vert="horz" lIns="67927" tIns="33963" rIns="67927" bIns="33963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rgbClr val="C00000"/>
                </a:solidFill>
                <a:latin typeface="Gadugi" panose="020B0502040204020203" pitchFamily="34" charset="0"/>
                <a:ea typeface="+mj-ea"/>
                <a:cs typeface="+mj-cs"/>
              </a:defRPr>
            </a:lvl1pPr>
          </a:lstStyle>
          <a:p>
            <a:r>
              <a:rPr lang="en-US" sz="2377" b="1" dirty="0"/>
              <a:t>Programmable scheduling is hard</a:t>
            </a:r>
          </a:p>
        </p:txBody>
      </p:sp>
      <p:sp>
        <p:nvSpPr>
          <p:cNvPr id="1079" name="Rounded Rectangle 1078"/>
          <p:cNvSpPr/>
          <p:nvPr/>
        </p:nvSpPr>
        <p:spPr>
          <a:xfrm>
            <a:off x="19986177" y="9364601"/>
            <a:ext cx="8033657" cy="4007089"/>
          </a:xfrm>
          <a:prstGeom prst="roundRect">
            <a:avLst/>
          </a:prstGeom>
          <a:noFill/>
          <a:ln w="1270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028"/>
          </a:p>
        </p:txBody>
      </p:sp>
      <p:sp>
        <p:nvSpPr>
          <p:cNvPr id="1106" name="Title 1"/>
          <p:cNvSpPr txBox="1">
            <a:spLocks/>
          </p:cNvSpPr>
          <p:nvPr/>
        </p:nvSpPr>
        <p:spPr>
          <a:xfrm>
            <a:off x="20519041" y="9327675"/>
            <a:ext cx="7317173" cy="984704"/>
          </a:xfrm>
          <a:prstGeom prst="rect">
            <a:avLst/>
          </a:prstGeom>
        </p:spPr>
        <p:txBody>
          <a:bodyPr vert="horz" lIns="67927" tIns="33963" rIns="67927" bIns="33963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Gadugi" panose="020B0502040204020203" pitchFamily="34" charset="0"/>
                <a:ea typeface="+mj-ea"/>
                <a:cs typeface="+mj-cs"/>
              </a:defRPr>
            </a:lvl1pPr>
          </a:lstStyle>
          <a:p>
            <a:r>
              <a:rPr lang="en-US" sz="2377" b="1" dirty="0">
                <a:solidFill>
                  <a:srgbClr val="C00000"/>
                </a:solidFill>
                <a:latin typeface="Gadugi"/>
              </a:rPr>
              <a:t>What does the scheduler do?</a:t>
            </a:r>
          </a:p>
        </p:txBody>
      </p:sp>
      <p:sp>
        <p:nvSpPr>
          <p:cNvPr id="1132" name="Rounded Rectangle 1131"/>
          <p:cNvSpPr/>
          <p:nvPr/>
        </p:nvSpPr>
        <p:spPr>
          <a:xfrm>
            <a:off x="20123443" y="13864697"/>
            <a:ext cx="7896393" cy="7207876"/>
          </a:xfrm>
          <a:prstGeom prst="roundRect">
            <a:avLst/>
          </a:prstGeom>
          <a:noFill/>
          <a:ln w="1270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028"/>
          </a:p>
        </p:txBody>
      </p:sp>
      <p:sp>
        <p:nvSpPr>
          <p:cNvPr id="1138" name="TextBox 1137"/>
          <p:cNvSpPr txBox="1"/>
          <p:nvPr/>
        </p:nvSpPr>
        <p:spPr>
          <a:xfrm>
            <a:off x="2110746" y="1645299"/>
            <a:ext cx="24987931" cy="104208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3086" dirty="0">
                <a:latin typeface="Gadugi" charset="0"/>
                <a:ea typeface="Gadugi" charset="0"/>
                <a:cs typeface="Gadugi" charset="0"/>
              </a:rPr>
              <a:t>Anirudh </a:t>
            </a:r>
            <a:r>
              <a:rPr lang="en-US" sz="3086" dirty="0" err="1">
                <a:latin typeface="Gadugi" charset="0"/>
                <a:ea typeface="Gadugi" charset="0"/>
                <a:cs typeface="Gadugi" charset="0"/>
              </a:rPr>
              <a:t>Sivaraman</a:t>
            </a:r>
            <a:r>
              <a:rPr lang="en-US" sz="3086" dirty="0">
                <a:latin typeface="Gadugi" charset="0"/>
                <a:ea typeface="Gadugi" charset="0"/>
                <a:cs typeface="Gadugi" charset="0"/>
              </a:rPr>
              <a:t>, </a:t>
            </a:r>
            <a:r>
              <a:rPr lang="en-US" sz="3086" dirty="0" err="1">
                <a:latin typeface="Gadugi" charset="0"/>
                <a:ea typeface="Gadugi" charset="0"/>
                <a:cs typeface="Gadugi" charset="0"/>
              </a:rPr>
              <a:t>Suvinay</a:t>
            </a:r>
            <a:r>
              <a:rPr lang="en-US" sz="3086" dirty="0">
                <a:latin typeface="Gadugi" charset="0"/>
                <a:ea typeface="Gadugi" charset="0"/>
                <a:cs typeface="Gadugi" charset="0"/>
              </a:rPr>
              <a:t> Subramanian, Mohammad </a:t>
            </a:r>
            <a:r>
              <a:rPr lang="en-US" sz="3086" dirty="0" err="1">
                <a:latin typeface="Gadugi" charset="0"/>
                <a:ea typeface="Gadugi" charset="0"/>
                <a:cs typeface="Gadugi" charset="0"/>
              </a:rPr>
              <a:t>Alizadeh</a:t>
            </a:r>
            <a:r>
              <a:rPr lang="en-US" sz="3086" dirty="0">
                <a:latin typeface="Gadugi" charset="0"/>
                <a:ea typeface="Gadugi" charset="0"/>
                <a:cs typeface="Gadugi" charset="0"/>
              </a:rPr>
              <a:t>, Alvin Cheung, </a:t>
            </a:r>
            <a:r>
              <a:rPr lang="en-US" sz="3086" dirty="0" err="1">
                <a:latin typeface="Gadugi" charset="0"/>
                <a:ea typeface="Gadugi" charset="0"/>
                <a:cs typeface="Gadugi" charset="0"/>
              </a:rPr>
              <a:t>Anurag</a:t>
            </a:r>
            <a:r>
              <a:rPr lang="en-US" sz="3086" dirty="0">
                <a:latin typeface="Gadugi" charset="0"/>
                <a:ea typeface="Gadugi" charset="0"/>
                <a:cs typeface="Gadugi" charset="0"/>
              </a:rPr>
              <a:t> Agrawal, </a:t>
            </a:r>
            <a:r>
              <a:rPr lang="en-US" sz="3086" dirty="0" err="1">
                <a:latin typeface="Gadugi" charset="0"/>
                <a:ea typeface="Gadugi" charset="0"/>
                <a:cs typeface="Gadugi" charset="0"/>
              </a:rPr>
              <a:t>Hari</a:t>
            </a:r>
            <a:r>
              <a:rPr lang="en-US" sz="3086" dirty="0">
                <a:latin typeface="Gadugi" charset="0"/>
                <a:ea typeface="Gadugi" charset="0"/>
                <a:cs typeface="Gadugi" charset="0"/>
              </a:rPr>
              <a:t> </a:t>
            </a:r>
            <a:r>
              <a:rPr lang="en-US" sz="3086" dirty="0" err="1">
                <a:latin typeface="Gadugi" charset="0"/>
                <a:ea typeface="Gadugi" charset="0"/>
                <a:cs typeface="Gadugi" charset="0"/>
              </a:rPr>
              <a:t>Balakrishnan</a:t>
            </a:r>
            <a:r>
              <a:rPr lang="en-US" sz="3086" dirty="0">
                <a:latin typeface="Gadugi" charset="0"/>
                <a:ea typeface="Gadugi" charset="0"/>
                <a:cs typeface="Gadugi" charset="0"/>
              </a:rPr>
              <a:t>, Mihai </a:t>
            </a:r>
            <a:r>
              <a:rPr lang="en-US" sz="3086" dirty="0" err="1">
                <a:latin typeface="Gadugi" charset="0"/>
                <a:ea typeface="Gadugi" charset="0"/>
                <a:cs typeface="Gadugi" charset="0"/>
              </a:rPr>
              <a:t>Budiu</a:t>
            </a:r>
            <a:r>
              <a:rPr lang="en-US" sz="3086" dirty="0">
                <a:latin typeface="Gadugi" charset="0"/>
                <a:ea typeface="Gadugi" charset="0"/>
                <a:cs typeface="Gadugi" charset="0"/>
              </a:rPr>
              <a:t>, </a:t>
            </a:r>
            <a:r>
              <a:rPr lang="en-US" sz="3086" dirty="0" err="1">
                <a:latin typeface="Gadugi" charset="0"/>
                <a:ea typeface="Gadugi" charset="0"/>
                <a:cs typeface="Gadugi" charset="0"/>
              </a:rPr>
              <a:t>Sharad</a:t>
            </a:r>
            <a:r>
              <a:rPr lang="en-US" sz="3086" dirty="0">
                <a:latin typeface="Gadugi" charset="0"/>
                <a:ea typeface="Gadugi" charset="0"/>
                <a:cs typeface="Gadugi" charset="0"/>
              </a:rPr>
              <a:t> </a:t>
            </a:r>
            <a:r>
              <a:rPr lang="en-US" sz="3086" dirty="0" err="1">
                <a:latin typeface="Gadugi" charset="0"/>
                <a:ea typeface="Gadugi" charset="0"/>
                <a:cs typeface="Gadugi" charset="0"/>
              </a:rPr>
              <a:t>Chole</a:t>
            </a:r>
            <a:r>
              <a:rPr lang="en-US" sz="3086" dirty="0">
                <a:latin typeface="Gadugi" charset="0"/>
                <a:ea typeface="Gadugi" charset="0"/>
                <a:cs typeface="Gadugi" charset="0"/>
              </a:rPr>
              <a:t>,</a:t>
            </a:r>
          </a:p>
          <a:p>
            <a:pPr algn="ctr"/>
            <a:r>
              <a:rPr lang="en-US" sz="3086" dirty="0">
                <a:latin typeface="Gadugi" charset="0"/>
                <a:ea typeface="Gadugi" charset="0"/>
                <a:cs typeface="Gadugi" charset="0"/>
              </a:rPr>
              <a:t>Shang-</a:t>
            </a:r>
            <a:r>
              <a:rPr lang="en-US" sz="3086" dirty="0" err="1">
                <a:latin typeface="Gadugi" charset="0"/>
                <a:ea typeface="Gadugi" charset="0"/>
                <a:cs typeface="Gadugi" charset="0"/>
              </a:rPr>
              <a:t>Tse</a:t>
            </a:r>
            <a:r>
              <a:rPr lang="en-US" sz="3086" dirty="0">
                <a:latin typeface="Gadugi" charset="0"/>
                <a:ea typeface="Gadugi" charset="0"/>
                <a:cs typeface="Gadugi" charset="0"/>
              </a:rPr>
              <a:t> </a:t>
            </a:r>
            <a:r>
              <a:rPr lang="en-US" sz="3086">
                <a:latin typeface="Gadugi" charset="0"/>
                <a:ea typeface="Gadugi" charset="0"/>
                <a:cs typeface="Gadugi" charset="0"/>
              </a:rPr>
              <a:t>Chuang, Tom </a:t>
            </a:r>
            <a:r>
              <a:rPr lang="en-US" sz="3086" dirty="0" err="1">
                <a:latin typeface="Gadugi" charset="0"/>
                <a:ea typeface="Gadugi" charset="0"/>
                <a:cs typeface="Gadugi" charset="0"/>
              </a:rPr>
              <a:t>Edsall</a:t>
            </a:r>
            <a:r>
              <a:rPr lang="en-US" sz="3086" dirty="0">
                <a:latin typeface="Gadugi" charset="0"/>
                <a:ea typeface="Gadugi" charset="0"/>
                <a:cs typeface="Gadugi" charset="0"/>
              </a:rPr>
              <a:t>, </a:t>
            </a:r>
            <a:r>
              <a:rPr lang="en-US" sz="3086" dirty="0" err="1">
                <a:latin typeface="Gadugi" charset="0"/>
                <a:ea typeface="Gadugi" charset="0"/>
                <a:cs typeface="Gadugi" charset="0"/>
              </a:rPr>
              <a:t>Sachin</a:t>
            </a:r>
            <a:r>
              <a:rPr lang="en-US" sz="3086" dirty="0">
                <a:latin typeface="Gadugi" charset="0"/>
                <a:ea typeface="Gadugi" charset="0"/>
                <a:cs typeface="Gadugi" charset="0"/>
              </a:rPr>
              <a:t> </a:t>
            </a:r>
            <a:r>
              <a:rPr lang="en-US" sz="3086" dirty="0" err="1">
                <a:latin typeface="Gadugi" charset="0"/>
                <a:ea typeface="Gadugi" charset="0"/>
                <a:cs typeface="Gadugi" charset="0"/>
              </a:rPr>
              <a:t>Katti</a:t>
            </a:r>
            <a:r>
              <a:rPr lang="en-US" sz="3086" dirty="0">
                <a:latin typeface="Gadugi" charset="0"/>
                <a:ea typeface="Gadugi" charset="0"/>
                <a:cs typeface="Gadugi" charset="0"/>
              </a:rPr>
              <a:t>, </a:t>
            </a:r>
            <a:r>
              <a:rPr lang="en-US" sz="3086" dirty="0" err="1">
                <a:latin typeface="Gadugi" charset="0"/>
                <a:ea typeface="Gadugi" charset="0"/>
                <a:cs typeface="Gadugi" charset="0"/>
              </a:rPr>
              <a:t>Changhoon</a:t>
            </a:r>
            <a:r>
              <a:rPr lang="en-US" sz="3086" dirty="0">
                <a:latin typeface="Gadugi" charset="0"/>
                <a:ea typeface="Gadugi" charset="0"/>
                <a:cs typeface="Gadugi" charset="0"/>
              </a:rPr>
              <a:t> Kim, Steve Licking, Nick </a:t>
            </a:r>
            <a:r>
              <a:rPr lang="en-US" sz="3086" dirty="0" err="1">
                <a:latin typeface="Gadugi" charset="0"/>
                <a:ea typeface="Gadugi" charset="0"/>
                <a:cs typeface="Gadugi" charset="0"/>
              </a:rPr>
              <a:t>McKeown</a:t>
            </a:r>
            <a:r>
              <a:rPr lang="en-US" sz="3086" dirty="0">
                <a:latin typeface="Gadugi" charset="0"/>
                <a:ea typeface="Gadugi" charset="0"/>
                <a:cs typeface="Gadugi" charset="0"/>
              </a:rPr>
              <a:t>, George Varghese</a:t>
            </a:r>
          </a:p>
        </p:txBody>
      </p:sp>
      <p:graphicFrame>
        <p:nvGraphicFramePr>
          <p:cNvPr id="378" name="Chart 377"/>
          <p:cNvGraphicFramePr/>
          <p:nvPr>
            <p:extLst>
              <p:ext uri="{D42A27DB-BD31-4B8C-83A1-F6EECF244321}">
                <p14:modId xmlns:p14="http://schemas.microsoft.com/office/powerpoint/2010/main" val="858888790"/>
              </p:ext>
            </p:extLst>
          </p:nvPr>
        </p:nvGraphicFramePr>
        <p:xfrm>
          <a:off x="1409150" y="9459116"/>
          <a:ext cx="8910515" cy="373688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381" name="Rounded Rectangle 380"/>
          <p:cNvSpPr/>
          <p:nvPr/>
        </p:nvSpPr>
        <p:spPr>
          <a:xfrm>
            <a:off x="2947741" y="13109888"/>
            <a:ext cx="5869695" cy="1075027"/>
          </a:xfrm>
          <a:prstGeom prst="roundRect">
            <a:avLst/>
          </a:prstGeom>
          <a:solidFill>
            <a:srgbClr val="901028"/>
          </a:solidFill>
          <a:ln/>
          <a:scene3d>
            <a:camera prst="orthographicFront"/>
            <a:lightRig rig="threePt" dir="t"/>
          </a:scene3d>
          <a:sp3d>
            <a:bevelT/>
          </a:sp3d>
        </p:spPr>
        <p:style>
          <a:lnRef idx="0">
            <a:schemeClr val="dk1"/>
          </a:lnRef>
          <a:fillRef idx="3">
            <a:schemeClr val="dk1"/>
          </a:fillRef>
          <a:effectRef idx="3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086" dirty="0">
                <a:latin typeface="Gadugi" charset="0"/>
                <a:ea typeface="Gadugi" charset="0"/>
                <a:cs typeface="Gadugi" charset="0"/>
              </a:rPr>
              <a:t>10—100X gap between</a:t>
            </a:r>
          </a:p>
          <a:p>
            <a:pPr algn="ctr"/>
            <a:r>
              <a:rPr lang="en-US" sz="3086" dirty="0">
                <a:latin typeface="Gadugi" charset="0"/>
                <a:ea typeface="Gadugi" charset="0"/>
                <a:cs typeface="Gadugi" charset="0"/>
              </a:rPr>
              <a:t>hardware and software routers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665168" y="17612032"/>
            <a:ext cx="8197292" cy="2980048"/>
          </a:xfrm>
          <a:prstGeom prst="rect">
            <a:avLst/>
          </a:prstGeom>
        </p:spPr>
      </p:pic>
      <p:pic>
        <p:nvPicPr>
          <p:cNvPr id="1808" name="Picture 1807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482253" y="16649641"/>
            <a:ext cx="1502229" cy="715588"/>
          </a:xfrm>
          <a:prstGeom prst="rect">
            <a:avLst/>
          </a:prstGeom>
        </p:spPr>
      </p:pic>
      <p:sp>
        <p:nvSpPr>
          <p:cNvPr id="1809" name="TextBox 1808"/>
          <p:cNvSpPr txBox="1"/>
          <p:nvPr/>
        </p:nvSpPr>
        <p:spPr>
          <a:xfrm>
            <a:off x="2951824" y="16649633"/>
            <a:ext cx="6603437" cy="80457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91886" indent="-391886">
              <a:buFont typeface="Arial" charset="0"/>
              <a:buChar char="•"/>
            </a:pPr>
            <a:r>
              <a:rPr lang="en-US" sz="2314" dirty="0">
                <a:latin typeface="Gadugi" charset="0"/>
                <a:ea typeface="Gadugi" charset="0"/>
                <a:cs typeface="Gadugi" charset="0"/>
              </a:rPr>
              <a:t>Same performance as fixed-function chips,</a:t>
            </a:r>
          </a:p>
          <a:p>
            <a:pPr marL="391886" indent="-391886">
              <a:buFont typeface="Arial" charset="0"/>
              <a:buChar char="•"/>
            </a:pPr>
            <a:r>
              <a:rPr lang="en-US" sz="2314" u="sng" dirty="0">
                <a:latin typeface="Gadugi" charset="0"/>
                <a:ea typeface="Gadugi" charset="0"/>
                <a:cs typeface="Gadugi" charset="0"/>
              </a:rPr>
              <a:t>Some</a:t>
            </a:r>
            <a:r>
              <a:rPr lang="en-US" sz="2314" i="1" dirty="0">
                <a:latin typeface="Gadugi" charset="0"/>
                <a:ea typeface="Gadugi" charset="0"/>
                <a:cs typeface="Gadugi" charset="0"/>
              </a:rPr>
              <a:t> </a:t>
            </a:r>
            <a:r>
              <a:rPr lang="en-US" sz="2314" dirty="0">
                <a:latin typeface="Gadugi" charset="0"/>
                <a:ea typeface="Gadugi" charset="0"/>
                <a:cs typeface="Gadugi" charset="0"/>
              </a:rPr>
              <a:t>programmability</a:t>
            </a:r>
            <a:r>
              <a:rPr lang="en-US" sz="2314" i="1" dirty="0">
                <a:latin typeface="Gadugi" charset="0"/>
                <a:ea typeface="Gadugi" charset="0"/>
                <a:cs typeface="Gadugi" charset="0"/>
              </a:rPr>
              <a:t> </a:t>
            </a:r>
            <a:endParaRPr lang="en-US" sz="2314" dirty="0">
              <a:latin typeface="Gadugi" charset="0"/>
              <a:ea typeface="Gadugi" charset="0"/>
              <a:cs typeface="Gadugi" charset="0"/>
            </a:endParaRPr>
          </a:p>
        </p:txBody>
      </p:sp>
      <p:sp>
        <p:nvSpPr>
          <p:cNvPr id="2078" name="Rounded Rectangle 2077"/>
          <p:cNvSpPr/>
          <p:nvPr/>
        </p:nvSpPr>
        <p:spPr>
          <a:xfrm>
            <a:off x="10993298" y="15283548"/>
            <a:ext cx="8384103" cy="4448323"/>
          </a:xfrm>
          <a:prstGeom prst="roundRect">
            <a:avLst/>
          </a:prstGeom>
          <a:noFill/>
          <a:ln w="1270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028"/>
          </a:p>
        </p:txBody>
      </p:sp>
      <p:sp>
        <p:nvSpPr>
          <p:cNvPr id="2079" name="Title 1"/>
          <p:cNvSpPr txBox="1">
            <a:spLocks/>
          </p:cNvSpPr>
          <p:nvPr/>
        </p:nvSpPr>
        <p:spPr>
          <a:xfrm>
            <a:off x="11466810" y="9611579"/>
            <a:ext cx="8721947" cy="1087687"/>
          </a:xfrm>
          <a:prstGeom prst="rect">
            <a:avLst/>
          </a:prstGeom>
        </p:spPr>
        <p:txBody>
          <a:bodyPr vert="horz" lIns="67927" tIns="33963" rIns="67927" bIns="33963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rgbClr val="C00000"/>
                </a:solidFill>
                <a:latin typeface="Gadugi" panose="020B0502040204020203" pitchFamily="34" charset="0"/>
                <a:ea typeface="+mj-ea"/>
                <a:cs typeface="+mj-cs"/>
              </a:defRPr>
            </a:lvl1pPr>
          </a:lstStyle>
          <a:p>
            <a:r>
              <a:rPr lang="en-US" sz="2377" b="1" dirty="0"/>
              <a:t>A machine model for line-rate routers</a:t>
            </a:r>
          </a:p>
        </p:txBody>
      </p:sp>
      <p:sp>
        <p:nvSpPr>
          <p:cNvPr id="2080" name="Rounded Rectangle 2079"/>
          <p:cNvSpPr/>
          <p:nvPr/>
        </p:nvSpPr>
        <p:spPr>
          <a:xfrm>
            <a:off x="10959477" y="9722147"/>
            <a:ext cx="8419460" cy="5260132"/>
          </a:xfrm>
          <a:prstGeom prst="roundRect">
            <a:avLst/>
          </a:prstGeom>
          <a:noFill/>
          <a:ln w="1270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028"/>
          </a:p>
        </p:txBody>
      </p:sp>
      <p:graphicFrame>
        <p:nvGraphicFramePr>
          <p:cNvPr id="2081" name="Table 208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5353286"/>
              </p:ext>
            </p:extLst>
          </p:nvPr>
        </p:nvGraphicFramePr>
        <p:xfrm>
          <a:off x="13306930" y="15809226"/>
          <a:ext cx="5041677" cy="3735978"/>
        </p:xfrm>
        <a:graphic>
          <a:graphicData uri="http://schemas.openxmlformats.org/drawingml/2006/table">
            <a:tbl>
              <a:tblPr firstRow="1" bandRow="1">
                <a:tableStyleId>{6E25E649-3F16-4E02-A733-19D2CDBF48F0}</a:tableStyleId>
              </a:tblPr>
              <a:tblGrid>
                <a:gridCol w="1202681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2659003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1179993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</a:tblGrid>
              <a:tr h="600891">
                <a:tc>
                  <a:txBody>
                    <a:bodyPr/>
                    <a:lstStyle/>
                    <a:p>
                      <a:pPr algn="ctr"/>
                      <a:r>
                        <a:rPr lang="en-US" sz="1700" b="0" dirty="0" smtClean="0">
                          <a:latin typeface="Gadugi" charset="0"/>
                          <a:cs typeface="Gadugi" charset="0"/>
                        </a:rPr>
                        <a:t>Atom</a:t>
                      </a:r>
                      <a:endParaRPr lang="en-US" sz="1700" b="0" dirty="0">
                        <a:latin typeface="Gadugi" charset="0"/>
                        <a:cs typeface="Gadugi" charset="0"/>
                      </a:endParaRPr>
                    </a:p>
                  </a:txBody>
                  <a:tcPr marL="78377" marR="78377" marT="39189" marB="39189"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700" b="0" dirty="0" smtClean="0">
                          <a:latin typeface="Gadugi" charset="0"/>
                          <a:cs typeface="Gadugi" charset="0"/>
                        </a:rPr>
                        <a:t>Description</a:t>
                      </a:r>
                      <a:endParaRPr lang="en-US" sz="1700" b="0" dirty="0">
                        <a:latin typeface="Gadugi" charset="0"/>
                        <a:cs typeface="Gadugi" charset="0"/>
                      </a:endParaRPr>
                    </a:p>
                  </a:txBody>
                  <a:tcPr marL="78377" marR="78377" marT="39189" marB="39189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700" b="0" dirty="0" smtClean="0">
                          <a:latin typeface="Gadugi" charset="0"/>
                          <a:cs typeface="Gadugi" charset="0"/>
                        </a:rPr>
                        <a:t>Area overhead</a:t>
                      </a:r>
                      <a:endParaRPr lang="en-US" sz="1700" b="0" dirty="0">
                        <a:latin typeface="Gadugi" charset="0"/>
                        <a:cs typeface="Gadugi" charset="0"/>
                      </a:endParaRPr>
                    </a:p>
                  </a:txBody>
                  <a:tcPr marL="78377" marR="78377" marT="39189" marB="39189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313509">
                <a:tc>
                  <a:txBody>
                    <a:bodyPr/>
                    <a:lstStyle/>
                    <a:p>
                      <a:r>
                        <a:rPr lang="en-US" sz="1500" dirty="0" smtClean="0">
                          <a:latin typeface="Gadugi" charset="0"/>
                          <a:cs typeface="Gadugi" charset="0"/>
                        </a:rPr>
                        <a:t>R/W</a:t>
                      </a:r>
                      <a:endParaRPr lang="en-US" sz="1500" dirty="0">
                        <a:latin typeface="Gadugi" charset="0"/>
                        <a:cs typeface="Gadugi" charset="0"/>
                      </a:endParaRPr>
                    </a:p>
                  </a:txBody>
                  <a:tcPr marL="78377" marR="78377" marT="39189" marB="39189"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r>
                        <a:rPr lang="en-US" sz="1500" dirty="0" smtClean="0">
                          <a:latin typeface="Gadugi" charset="0"/>
                          <a:cs typeface="Gadugi" charset="0"/>
                        </a:rPr>
                        <a:t>Read or</a:t>
                      </a:r>
                      <a:r>
                        <a:rPr lang="en-US" sz="1500" baseline="0" dirty="0" smtClean="0">
                          <a:latin typeface="Gadugi" charset="0"/>
                          <a:cs typeface="Gadugi" charset="0"/>
                        </a:rPr>
                        <a:t> write state</a:t>
                      </a:r>
                      <a:endParaRPr lang="en-US" sz="1500" dirty="0">
                        <a:latin typeface="Gadugi" charset="0"/>
                        <a:cs typeface="Gadugi" charset="0"/>
                      </a:endParaRPr>
                    </a:p>
                  </a:txBody>
                  <a:tcPr marL="78377" marR="78377" marT="39189" marB="39189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 smtClean="0">
                          <a:latin typeface="Gadugi" charset="0"/>
                          <a:cs typeface="Gadugi" charset="0"/>
                        </a:rPr>
                        <a:t>0.04%</a:t>
                      </a:r>
                      <a:endParaRPr lang="en-US" sz="1500" dirty="0">
                        <a:latin typeface="Gadugi" charset="0"/>
                        <a:cs typeface="Gadugi" charset="0"/>
                      </a:endParaRPr>
                    </a:p>
                  </a:txBody>
                  <a:tcPr marL="78377" marR="78377" marT="39189" marB="39189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313509">
                <a:tc>
                  <a:txBody>
                    <a:bodyPr/>
                    <a:lstStyle/>
                    <a:p>
                      <a:r>
                        <a:rPr lang="en-US" sz="1500" dirty="0" smtClean="0">
                          <a:latin typeface="Gadugi" charset="0"/>
                          <a:cs typeface="Gadugi" charset="0"/>
                        </a:rPr>
                        <a:t>RAW</a:t>
                      </a:r>
                      <a:endParaRPr lang="en-US" sz="1500" dirty="0">
                        <a:latin typeface="Gadugi" charset="0"/>
                        <a:cs typeface="Gadugi" charset="0"/>
                      </a:endParaRPr>
                    </a:p>
                  </a:txBody>
                  <a:tcPr marL="78377" marR="78377" marT="39189" marB="39189"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r>
                        <a:rPr lang="en-US" sz="1500" dirty="0" smtClean="0">
                          <a:latin typeface="Gadugi" charset="0"/>
                          <a:cs typeface="Gadugi" charset="0"/>
                        </a:rPr>
                        <a:t>Read, add, and</a:t>
                      </a:r>
                      <a:r>
                        <a:rPr lang="en-US" sz="1500" baseline="0" dirty="0" smtClean="0">
                          <a:latin typeface="Gadugi" charset="0"/>
                          <a:cs typeface="Gadugi" charset="0"/>
                        </a:rPr>
                        <a:t> write back</a:t>
                      </a:r>
                      <a:endParaRPr lang="en-US" sz="1500" dirty="0">
                        <a:latin typeface="Gadugi" charset="0"/>
                        <a:cs typeface="Gadugi" charset="0"/>
                      </a:endParaRPr>
                    </a:p>
                  </a:txBody>
                  <a:tcPr marL="78377" marR="78377" marT="39189" marB="39189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 smtClean="0">
                          <a:latin typeface="Gadugi" charset="0"/>
                          <a:cs typeface="Gadugi" charset="0"/>
                        </a:rPr>
                        <a:t>0.07%</a:t>
                      </a:r>
                      <a:endParaRPr lang="en-US" sz="1500" dirty="0">
                        <a:latin typeface="Gadugi" charset="0"/>
                        <a:cs typeface="Gadugi" charset="0"/>
                      </a:endParaRPr>
                    </a:p>
                  </a:txBody>
                  <a:tcPr marL="78377" marR="78377" marT="39189" marB="39189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313509">
                <a:tc>
                  <a:txBody>
                    <a:bodyPr/>
                    <a:lstStyle/>
                    <a:p>
                      <a:r>
                        <a:rPr lang="en-US" sz="1500" dirty="0" smtClean="0">
                          <a:latin typeface="Gadugi" charset="0"/>
                          <a:cs typeface="Gadugi" charset="0"/>
                        </a:rPr>
                        <a:t>PRAW</a:t>
                      </a:r>
                      <a:endParaRPr lang="en-US" sz="1500" dirty="0">
                        <a:latin typeface="Gadugi" charset="0"/>
                        <a:cs typeface="Gadugi" charset="0"/>
                      </a:endParaRPr>
                    </a:p>
                  </a:txBody>
                  <a:tcPr marL="78377" marR="78377" marT="39189" marB="39189"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r>
                        <a:rPr lang="en-US" sz="1500" dirty="0" smtClean="0">
                          <a:latin typeface="Gadugi" charset="0"/>
                          <a:cs typeface="Gadugi" charset="0"/>
                        </a:rPr>
                        <a:t>Predicated</a:t>
                      </a:r>
                      <a:r>
                        <a:rPr lang="en-US" sz="1500" baseline="0" dirty="0" smtClean="0">
                          <a:latin typeface="Gadugi" charset="0"/>
                          <a:cs typeface="Gadugi" charset="0"/>
                        </a:rPr>
                        <a:t> version of RAW</a:t>
                      </a:r>
                      <a:endParaRPr lang="en-US" sz="1500" dirty="0">
                        <a:latin typeface="Gadugi" charset="0"/>
                        <a:cs typeface="Gadugi" charset="0"/>
                      </a:endParaRPr>
                    </a:p>
                  </a:txBody>
                  <a:tcPr marL="78377" marR="78377" marT="39189" marB="39189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 smtClean="0">
                          <a:latin typeface="Gadugi" charset="0"/>
                          <a:cs typeface="Gadugi" charset="0"/>
                        </a:rPr>
                        <a:t>0.13%</a:t>
                      </a:r>
                      <a:endParaRPr lang="en-US" sz="1500" dirty="0">
                        <a:latin typeface="Gadugi" charset="0"/>
                        <a:cs typeface="Gadugi" charset="0"/>
                      </a:endParaRPr>
                    </a:p>
                  </a:txBody>
                  <a:tcPr marL="78377" marR="78377" marT="39189" marB="39189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548640">
                <a:tc>
                  <a:txBody>
                    <a:bodyPr/>
                    <a:lstStyle/>
                    <a:p>
                      <a:r>
                        <a:rPr lang="en-US" sz="1500" dirty="0" err="1" smtClean="0">
                          <a:latin typeface="Gadugi" charset="0"/>
                          <a:cs typeface="Gadugi" charset="0"/>
                        </a:rPr>
                        <a:t>IfElseRAW</a:t>
                      </a:r>
                      <a:endParaRPr lang="en-US" sz="1500" dirty="0">
                        <a:latin typeface="Gadugi" charset="0"/>
                        <a:cs typeface="Gadugi" charset="0"/>
                      </a:endParaRPr>
                    </a:p>
                  </a:txBody>
                  <a:tcPr marL="78377" marR="78377" marT="39189" marB="39189"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r>
                        <a:rPr lang="en-US" sz="1500" baseline="0" dirty="0" smtClean="0">
                          <a:latin typeface="Gadugi" charset="0"/>
                          <a:cs typeface="Gadugi" charset="0"/>
                        </a:rPr>
                        <a:t>2 RAWs, one each when a predicate is true or false</a:t>
                      </a:r>
                      <a:endParaRPr lang="en-US" sz="1500" dirty="0">
                        <a:latin typeface="Gadugi" charset="0"/>
                        <a:cs typeface="Gadugi" charset="0"/>
                      </a:endParaRPr>
                    </a:p>
                  </a:txBody>
                  <a:tcPr marL="78377" marR="78377" marT="39189" marB="39189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 smtClean="0">
                          <a:latin typeface="Gadugi" charset="0"/>
                          <a:cs typeface="Gadugi" charset="0"/>
                        </a:rPr>
                        <a:t>0.16%</a:t>
                      </a:r>
                      <a:endParaRPr lang="en-US" sz="1500" dirty="0">
                        <a:latin typeface="Gadugi" charset="0"/>
                        <a:cs typeface="Gadugi" charset="0"/>
                      </a:endParaRPr>
                    </a:p>
                  </a:txBody>
                  <a:tcPr marL="78377" marR="78377" marT="39189" marB="39189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548640">
                <a:tc>
                  <a:txBody>
                    <a:bodyPr/>
                    <a:lstStyle/>
                    <a:p>
                      <a:r>
                        <a:rPr lang="en-US" sz="1500" dirty="0" smtClean="0">
                          <a:latin typeface="Gadugi" charset="0"/>
                          <a:cs typeface="Gadugi" charset="0"/>
                        </a:rPr>
                        <a:t>Sub</a:t>
                      </a:r>
                      <a:endParaRPr lang="en-US" sz="1500" dirty="0">
                        <a:latin typeface="Gadugi" charset="0"/>
                        <a:cs typeface="Gadugi" charset="0"/>
                      </a:endParaRPr>
                    </a:p>
                  </a:txBody>
                  <a:tcPr marL="78377" marR="78377" marT="39189" marB="39189"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r>
                        <a:rPr lang="en-US" sz="1500" dirty="0" err="1" smtClean="0">
                          <a:latin typeface="Gadugi" charset="0"/>
                          <a:cs typeface="Gadugi" charset="0"/>
                        </a:rPr>
                        <a:t>IfElseRAW</a:t>
                      </a:r>
                      <a:r>
                        <a:rPr lang="en-US" sz="1500" dirty="0" smtClean="0">
                          <a:latin typeface="Gadugi" charset="0"/>
                          <a:cs typeface="Gadugi" charset="0"/>
                        </a:rPr>
                        <a:t> with a </a:t>
                      </a:r>
                      <a:r>
                        <a:rPr lang="en-US" sz="1500" dirty="0" err="1" smtClean="0">
                          <a:latin typeface="Gadugi" charset="0"/>
                          <a:cs typeface="Gadugi" charset="0"/>
                        </a:rPr>
                        <a:t>stateful</a:t>
                      </a:r>
                      <a:r>
                        <a:rPr lang="en-US" sz="1500" dirty="0" smtClean="0">
                          <a:latin typeface="Gadugi" charset="0"/>
                          <a:cs typeface="Gadugi" charset="0"/>
                        </a:rPr>
                        <a:t> subtraction capability</a:t>
                      </a:r>
                      <a:endParaRPr lang="en-US" sz="1500" dirty="0">
                        <a:latin typeface="Gadugi" charset="0"/>
                        <a:cs typeface="Gadugi" charset="0"/>
                      </a:endParaRPr>
                    </a:p>
                  </a:txBody>
                  <a:tcPr marL="78377" marR="78377" marT="39189" marB="39189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 smtClean="0">
                          <a:latin typeface="Gadugi" charset="0"/>
                          <a:cs typeface="Gadugi" charset="0"/>
                        </a:rPr>
                        <a:t>0.24%</a:t>
                      </a:r>
                      <a:endParaRPr lang="en-US" sz="1500" dirty="0">
                        <a:latin typeface="Gadugi" charset="0"/>
                        <a:cs typeface="Gadugi" charset="0"/>
                      </a:endParaRPr>
                    </a:p>
                  </a:txBody>
                  <a:tcPr marL="78377" marR="78377" marT="39189" marB="39189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548640">
                <a:tc>
                  <a:txBody>
                    <a:bodyPr/>
                    <a:lstStyle/>
                    <a:p>
                      <a:r>
                        <a:rPr lang="en-US" sz="1500" dirty="0" smtClean="0">
                          <a:latin typeface="Gadugi" charset="0"/>
                          <a:cs typeface="Gadugi" charset="0"/>
                        </a:rPr>
                        <a:t>Nested</a:t>
                      </a:r>
                      <a:endParaRPr lang="en-US" sz="1500" dirty="0">
                        <a:latin typeface="Gadugi" charset="0"/>
                        <a:cs typeface="Gadugi" charset="0"/>
                      </a:endParaRPr>
                    </a:p>
                  </a:txBody>
                  <a:tcPr marL="78377" marR="78377" marT="39189" marB="39189"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r>
                        <a:rPr lang="en-US" sz="1500" dirty="0" smtClean="0">
                          <a:latin typeface="Gadugi" charset="0"/>
                          <a:cs typeface="Gadugi" charset="0"/>
                        </a:rPr>
                        <a:t>4-way predication (nests</a:t>
                      </a:r>
                      <a:r>
                        <a:rPr lang="en-US" sz="1500" baseline="0" dirty="0" smtClean="0">
                          <a:latin typeface="Gadugi" charset="0"/>
                          <a:cs typeface="Gadugi" charset="0"/>
                        </a:rPr>
                        <a:t> 2 </a:t>
                      </a:r>
                      <a:r>
                        <a:rPr lang="en-US" sz="1500" baseline="0" dirty="0" err="1" smtClean="0">
                          <a:latin typeface="Gadugi" charset="0"/>
                          <a:cs typeface="Gadugi" charset="0"/>
                        </a:rPr>
                        <a:t>IfElseRAWs</a:t>
                      </a:r>
                      <a:r>
                        <a:rPr lang="en-US" sz="1500" baseline="0" dirty="0" smtClean="0">
                          <a:latin typeface="Gadugi" charset="0"/>
                          <a:cs typeface="Gadugi" charset="0"/>
                        </a:rPr>
                        <a:t>)</a:t>
                      </a:r>
                      <a:endParaRPr lang="en-US" sz="1500" dirty="0">
                        <a:latin typeface="Gadugi" charset="0"/>
                        <a:cs typeface="Gadugi" charset="0"/>
                      </a:endParaRPr>
                    </a:p>
                  </a:txBody>
                  <a:tcPr marL="78377" marR="78377" marT="39189" marB="39189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 smtClean="0">
                          <a:latin typeface="Gadugi" charset="0"/>
                          <a:cs typeface="Gadugi" charset="0"/>
                        </a:rPr>
                        <a:t>0.58%</a:t>
                      </a:r>
                      <a:endParaRPr lang="en-US" sz="1500" dirty="0">
                        <a:latin typeface="Gadugi" charset="0"/>
                        <a:cs typeface="Gadugi" charset="0"/>
                      </a:endParaRPr>
                    </a:p>
                  </a:txBody>
                  <a:tcPr marL="78377" marR="78377" marT="39189" marB="39189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  <a:tr h="548640">
                <a:tc>
                  <a:txBody>
                    <a:bodyPr/>
                    <a:lstStyle/>
                    <a:p>
                      <a:r>
                        <a:rPr lang="en-US" sz="1500" dirty="0" smtClean="0">
                          <a:latin typeface="Gadugi" charset="0"/>
                          <a:cs typeface="Gadugi" charset="0"/>
                        </a:rPr>
                        <a:t>Pairs</a:t>
                      </a:r>
                      <a:endParaRPr lang="en-US" sz="1500" dirty="0">
                        <a:latin typeface="Gadugi" charset="0"/>
                        <a:cs typeface="Gadugi" charset="0"/>
                      </a:endParaRPr>
                    </a:p>
                  </a:txBody>
                  <a:tcPr marL="78377" marR="78377" marT="39189" marB="39189"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r>
                        <a:rPr lang="en-US" sz="1500" dirty="0" smtClean="0">
                          <a:latin typeface="Gadugi" charset="0"/>
                          <a:cs typeface="Gadugi" charset="0"/>
                        </a:rPr>
                        <a:t>Update a pair of state variables</a:t>
                      </a:r>
                      <a:endParaRPr lang="en-US" sz="1500" dirty="0">
                        <a:latin typeface="Gadugi" charset="0"/>
                        <a:cs typeface="Gadugi" charset="0"/>
                      </a:endParaRPr>
                    </a:p>
                  </a:txBody>
                  <a:tcPr marL="78377" marR="78377" marT="39189" marB="39189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 smtClean="0">
                          <a:latin typeface="Gadugi" charset="0"/>
                          <a:cs typeface="Gadugi" charset="0"/>
                        </a:rPr>
                        <a:t>0.96%</a:t>
                      </a:r>
                      <a:endParaRPr lang="en-US" sz="1500" dirty="0">
                        <a:latin typeface="Gadugi" charset="0"/>
                        <a:cs typeface="Gadugi" charset="0"/>
                      </a:endParaRPr>
                    </a:p>
                  </a:txBody>
                  <a:tcPr marL="78377" marR="78377" marT="39189" marB="39189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xmlns="" val="10007"/>
                  </a:ext>
                </a:extLst>
              </a:tr>
            </a:tbl>
          </a:graphicData>
        </a:graphic>
      </p:graphicFrame>
      <p:grpSp>
        <p:nvGrpSpPr>
          <p:cNvPr id="2082" name="Group 2081"/>
          <p:cNvGrpSpPr/>
          <p:nvPr/>
        </p:nvGrpSpPr>
        <p:grpSpPr>
          <a:xfrm>
            <a:off x="11532050" y="16195295"/>
            <a:ext cx="1420690" cy="3015218"/>
            <a:chOff x="10174710" y="1732002"/>
            <a:chExt cx="2053377" cy="4961055"/>
          </a:xfrm>
        </p:grpSpPr>
        <p:sp>
          <p:nvSpPr>
            <p:cNvPr id="2083" name="Rectangle 2082"/>
            <p:cNvSpPr/>
            <p:nvPr/>
          </p:nvSpPr>
          <p:spPr>
            <a:xfrm>
              <a:off x="10363200" y="1732002"/>
              <a:ext cx="1828800" cy="49149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7028"/>
            </a:p>
          </p:txBody>
        </p:sp>
        <p:cxnSp>
          <p:nvCxnSpPr>
            <p:cNvPr id="2084" name="Straight Arrow Connector 2083"/>
            <p:cNvCxnSpPr/>
            <p:nvPr/>
          </p:nvCxnSpPr>
          <p:spPr>
            <a:xfrm>
              <a:off x="11239500" y="3048000"/>
              <a:ext cx="0" cy="2286000"/>
            </a:xfrm>
            <a:prstGeom prst="straightConnector1">
              <a:avLst/>
            </a:prstGeom>
            <a:ln w="762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085" name="TextBox 2084"/>
            <p:cNvSpPr txBox="1"/>
            <p:nvPr/>
          </p:nvSpPr>
          <p:spPr>
            <a:xfrm>
              <a:off x="10237423" y="1951291"/>
              <a:ext cx="1990664" cy="119361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2057" dirty="0">
                  <a:latin typeface="Gadugi" panose="020B0502040204020203" pitchFamily="34" charset="0"/>
                </a:rPr>
                <a:t>Least</a:t>
              </a:r>
            </a:p>
            <a:p>
              <a:pPr algn="ctr"/>
              <a:r>
                <a:rPr lang="en-US" sz="2057" dirty="0">
                  <a:latin typeface="Gadugi" panose="020B0502040204020203" pitchFamily="34" charset="0"/>
                </a:rPr>
                <a:t>Expressive</a:t>
              </a:r>
            </a:p>
          </p:txBody>
        </p:sp>
        <p:sp>
          <p:nvSpPr>
            <p:cNvPr id="2086" name="TextBox 2085"/>
            <p:cNvSpPr txBox="1"/>
            <p:nvPr/>
          </p:nvSpPr>
          <p:spPr>
            <a:xfrm>
              <a:off x="10174710" y="5499438"/>
              <a:ext cx="1990664" cy="119361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2057" dirty="0">
                  <a:latin typeface="Gadugi" panose="020B0502040204020203" pitchFamily="34" charset="0"/>
                </a:rPr>
                <a:t>Most</a:t>
              </a:r>
            </a:p>
            <a:p>
              <a:pPr algn="ctr"/>
              <a:r>
                <a:rPr lang="en-US" sz="2057" dirty="0">
                  <a:latin typeface="Gadugi" panose="020B0502040204020203" pitchFamily="34" charset="0"/>
                </a:rPr>
                <a:t>Expressive</a:t>
              </a:r>
            </a:p>
          </p:txBody>
        </p:sp>
      </p:grpSp>
      <p:graphicFrame>
        <p:nvGraphicFramePr>
          <p:cNvPr id="2088" name="Table 208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39766741"/>
              </p:ext>
            </p:extLst>
          </p:nvPr>
        </p:nvGraphicFramePr>
        <p:xfrm>
          <a:off x="11437094" y="20650200"/>
          <a:ext cx="7454026" cy="5497356"/>
        </p:xfrm>
        <a:graphic>
          <a:graphicData uri="http://schemas.openxmlformats.org/drawingml/2006/table">
            <a:tbl>
              <a:tblPr firstRow="1" bandRow="1">
                <a:tableStyleId>{6E25E649-3F16-4E02-A733-19D2CDBF48F0}</a:tableStyleId>
              </a:tblPr>
              <a:tblGrid>
                <a:gridCol w="2540163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718273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1082406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1610955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1502229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</a:tblGrid>
              <a:tr h="705394">
                <a:tc>
                  <a:txBody>
                    <a:bodyPr/>
                    <a:lstStyle/>
                    <a:p>
                      <a:pPr algn="ctr"/>
                      <a:r>
                        <a:rPr lang="en-US" sz="2100" b="0" dirty="0" smtClean="0">
                          <a:latin typeface="Gadugi" charset="0"/>
                          <a:cs typeface="Gadugi" charset="0"/>
                        </a:rPr>
                        <a:t>Algorithm</a:t>
                      </a:r>
                      <a:endParaRPr lang="en-US" sz="2100" b="0" dirty="0">
                        <a:latin typeface="Gadugi" charset="0"/>
                        <a:cs typeface="Gadugi" charset="0"/>
                      </a:endParaRPr>
                    </a:p>
                  </a:txBody>
                  <a:tcPr marL="78377" marR="78377" marT="39189" marB="39189"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100" b="0" dirty="0" smtClean="0">
                          <a:latin typeface="Gadugi" charset="0"/>
                          <a:cs typeface="Gadugi" charset="0"/>
                        </a:rPr>
                        <a:t>LOC</a:t>
                      </a:r>
                      <a:endParaRPr lang="en-US" sz="2100" b="0" dirty="0">
                        <a:latin typeface="Gadugi" charset="0"/>
                        <a:cs typeface="Gadugi" charset="0"/>
                      </a:endParaRPr>
                    </a:p>
                  </a:txBody>
                  <a:tcPr marL="78377" marR="78377" marT="39189" marB="39189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100" b="0" dirty="0" smtClean="0">
                          <a:latin typeface="Gadugi" charset="0"/>
                          <a:cs typeface="Gadugi" charset="0"/>
                        </a:rPr>
                        <a:t>Stages</a:t>
                      </a:r>
                    </a:p>
                  </a:txBody>
                  <a:tcPr marL="78377" marR="78377" marT="39189" marB="39189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100" b="0" dirty="0" smtClean="0">
                          <a:latin typeface="Gadugi" charset="0"/>
                          <a:cs typeface="Gadugi" charset="0"/>
                        </a:rPr>
                        <a:t>Max.</a:t>
                      </a:r>
                      <a:r>
                        <a:rPr lang="en-US" sz="2100" b="0" baseline="0" dirty="0" smtClean="0">
                          <a:latin typeface="Gadugi" charset="0"/>
                          <a:cs typeface="Gadugi" charset="0"/>
                        </a:rPr>
                        <a:t> atoms/stage</a:t>
                      </a:r>
                    </a:p>
                  </a:txBody>
                  <a:tcPr marL="78377" marR="78377" marT="39189" marB="39189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100" b="0" dirty="0" smtClean="0">
                          <a:latin typeface="Gadugi" charset="0"/>
                          <a:cs typeface="Gadugi" charset="0"/>
                        </a:rPr>
                        <a:t>Min.</a:t>
                      </a:r>
                      <a:r>
                        <a:rPr lang="en-US" sz="2100" b="0" baseline="0" dirty="0" smtClean="0">
                          <a:latin typeface="Gadugi" charset="0"/>
                          <a:cs typeface="Gadugi" charset="0"/>
                        </a:rPr>
                        <a:t> Atom Required</a:t>
                      </a:r>
                      <a:endParaRPr lang="en-US" sz="2100" b="0" dirty="0">
                        <a:latin typeface="Gadugi" charset="0"/>
                        <a:cs typeface="Gadugi" charset="0"/>
                      </a:endParaRPr>
                    </a:p>
                  </a:txBody>
                  <a:tcPr marL="78377" marR="78377" marT="39189" marB="39189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397157">
                <a:tc>
                  <a:txBody>
                    <a:bodyPr/>
                    <a:lstStyle/>
                    <a:p>
                      <a:r>
                        <a:rPr lang="en-US" sz="1900" dirty="0" smtClean="0">
                          <a:latin typeface="Gadugi" charset="0"/>
                          <a:cs typeface="Gadugi" charset="0"/>
                        </a:rPr>
                        <a:t>Bloom filter</a:t>
                      </a:r>
                      <a:endParaRPr lang="en-US" sz="1900" dirty="0">
                        <a:latin typeface="Gadugi" charset="0"/>
                        <a:cs typeface="Gadugi" charset="0"/>
                      </a:endParaRPr>
                    </a:p>
                  </a:txBody>
                  <a:tcPr marL="78377" marR="78377" marT="39189" marB="39189"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900" dirty="0" smtClean="0">
                          <a:latin typeface="Gadugi" charset="0"/>
                          <a:cs typeface="Gadugi" charset="0"/>
                        </a:rPr>
                        <a:t>29</a:t>
                      </a:r>
                      <a:endParaRPr lang="en-US" sz="1900" dirty="0">
                        <a:latin typeface="Gadugi" charset="0"/>
                        <a:cs typeface="Gadugi" charset="0"/>
                      </a:endParaRPr>
                    </a:p>
                  </a:txBody>
                  <a:tcPr marL="78377" marR="78377" marT="39189" marB="39189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900" dirty="0" smtClean="0">
                          <a:latin typeface="Gadugi" charset="0"/>
                          <a:cs typeface="Gadugi" charset="0"/>
                        </a:rPr>
                        <a:t>4</a:t>
                      </a:r>
                      <a:endParaRPr lang="en-US" sz="1900" dirty="0">
                        <a:latin typeface="Gadugi" charset="0"/>
                        <a:cs typeface="Gadugi" charset="0"/>
                      </a:endParaRPr>
                    </a:p>
                  </a:txBody>
                  <a:tcPr marL="78377" marR="78377" marT="39189" marB="39189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900" dirty="0" smtClean="0">
                          <a:latin typeface="Gadugi" charset="0"/>
                          <a:cs typeface="Gadugi" charset="0"/>
                        </a:rPr>
                        <a:t>3</a:t>
                      </a:r>
                      <a:endParaRPr lang="en-US" sz="1900" dirty="0">
                        <a:latin typeface="Gadugi" charset="0"/>
                        <a:cs typeface="Gadugi" charset="0"/>
                      </a:endParaRPr>
                    </a:p>
                  </a:txBody>
                  <a:tcPr marL="78377" marR="78377" marT="39189" marB="39189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r>
                        <a:rPr lang="en-US" sz="1900" dirty="0" smtClean="0">
                          <a:latin typeface="Gadugi" charset="0"/>
                          <a:cs typeface="Gadugi" charset="0"/>
                        </a:rPr>
                        <a:t>R/W</a:t>
                      </a:r>
                      <a:endParaRPr lang="en-US" sz="1900" dirty="0">
                        <a:latin typeface="Gadugi" charset="0"/>
                        <a:cs typeface="Gadugi" charset="0"/>
                      </a:endParaRPr>
                    </a:p>
                  </a:txBody>
                  <a:tcPr marL="78377" marR="78377" marT="39189" marB="39189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709209">
                <a:tc>
                  <a:txBody>
                    <a:bodyPr/>
                    <a:lstStyle/>
                    <a:p>
                      <a:r>
                        <a:rPr lang="en-US" sz="1900" dirty="0" smtClean="0">
                          <a:latin typeface="Gadugi" charset="0"/>
                          <a:cs typeface="Gadugi" charset="0"/>
                        </a:rPr>
                        <a:t>Heavy hitter detection</a:t>
                      </a:r>
                      <a:endParaRPr lang="en-US" sz="1900" dirty="0">
                        <a:latin typeface="Gadugi" charset="0"/>
                        <a:cs typeface="Gadugi" charset="0"/>
                      </a:endParaRPr>
                    </a:p>
                  </a:txBody>
                  <a:tcPr marL="78377" marR="78377" marT="39189" marB="39189"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900" dirty="0" smtClean="0">
                          <a:latin typeface="Gadugi" charset="0"/>
                          <a:cs typeface="Gadugi" charset="0"/>
                        </a:rPr>
                        <a:t>35</a:t>
                      </a:r>
                      <a:endParaRPr lang="en-US" sz="1900" dirty="0">
                        <a:latin typeface="Gadugi" charset="0"/>
                        <a:cs typeface="Gadugi" charset="0"/>
                      </a:endParaRPr>
                    </a:p>
                  </a:txBody>
                  <a:tcPr marL="78377" marR="78377" marT="39189" marB="39189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900" dirty="0" smtClean="0">
                          <a:latin typeface="Gadugi" charset="0"/>
                          <a:cs typeface="Gadugi" charset="0"/>
                        </a:rPr>
                        <a:t>10</a:t>
                      </a:r>
                      <a:endParaRPr lang="en-US" sz="1900" dirty="0">
                        <a:latin typeface="Gadugi" charset="0"/>
                        <a:cs typeface="Gadugi" charset="0"/>
                      </a:endParaRPr>
                    </a:p>
                  </a:txBody>
                  <a:tcPr marL="78377" marR="78377" marT="39189" marB="39189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900" dirty="0" smtClean="0">
                          <a:latin typeface="Gadugi" charset="0"/>
                          <a:cs typeface="Gadugi" charset="0"/>
                        </a:rPr>
                        <a:t>9</a:t>
                      </a:r>
                      <a:endParaRPr lang="en-US" sz="1900" dirty="0">
                        <a:latin typeface="Gadugi" charset="0"/>
                        <a:cs typeface="Gadugi" charset="0"/>
                      </a:endParaRPr>
                    </a:p>
                  </a:txBody>
                  <a:tcPr marL="78377" marR="78377" marT="39189" marB="39189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r>
                        <a:rPr lang="en-US" sz="1900" dirty="0" smtClean="0">
                          <a:latin typeface="Gadugi" charset="0"/>
                          <a:cs typeface="Gadugi" charset="0"/>
                        </a:rPr>
                        <a:t>RAW</a:t>
                      </a:r>
                      <a:endParaRPr lang="en-US" sz="1900" dirty="0">
                        <a:latin typeface="Gadugi" charset="0"/>
                        <a:cs typeface="Gadugi" charset="0"/>
                      </a:endParaRPr>
                    </a:p>
                  </a:txBody>
                  <a:tcPr marL="78377" marR="78377" marT="39189" marB="39189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397157">
                <a:tc>
                  <a:txBody>
                    <a:bodyPr/>
                    <a:lstStyle/>
                    <a:p>
                      <a:r>
                        <a:rPr lang="en-US" sz="1900" dirty="0" smtClean="0">
                          <a:latin typeface="Gadugi" charset="0"/>
                          <a:cs typeface="Gadugi" charset="0"/>
                        </a:rPr>
                        <a:t>Rate Control Protocol</a:t>
                      </a:r>
                      <a:endParaRPr lang="en-US" sz="1900" dirty="0">
                        <a:latin typeface="Gadugi" charset="0"/>
                        <a:cs typeface="Gadugi" charset="0"/>
                      </a:endParaRPr>
                    </a:p>
                  </a:txBody>
                  <a:tcPr marL="78377" marR="78377" marT="39189" marB="39189"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900" dirty="0" smtClean="0">
                          <a:latin typeface="Gadugi" charset="0"/>
                          <a:cs typeface="Gadugi" charset="0"/>
                        </a:rPr>
                        <a:t>23</a:t>
                      </a:r>
                      <a:endParaRPr lang="en-US" sz="1900" dirty="0">
                        <a:latin typeface="Gadugi" charset="0"/>
                        <a:cs typeface="Gadugi" charset="0"/>
                      </a:endParaRPr>
                    </a:p>
                  </a:txBody>
                  <a:tcPr marL="78377" marR="78377" marT="39189" marB="39189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900" dirty="0" smtClean="0">
                          <a:latin typeface="Gadugi" charset="0"/>
                          <a:cs typeface="Gadugi" charset="0"/>
                        </a:rPr>
                        <a:t>6</a:t>
                      </a:r>
                      <a:endParaRPr lang="en-US" sz="1900" dirty="0">
                        <a:latin typeface="Gadugi" charset="0"/>
                        <a:cs typeface="Gadugi" charset="0"/>
                      </a:endParaRPr>
                    </a:p>
                  </a:txBody>
                  <a:tcPr marL="78377" marR="78377" marT="39189" marB="39189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900" dirty="0" smtClean="0">
                          <a:latin typeface="Gadugi" charset="0"/>
                          <a:cs typeface="Gadugi" charset="0"/>
                        </a:rPr>
                        <a:t>2</a:t>
                      </a:r>
                      <a:endParaRPr lang="en-US" sz="1900" dirty="0">
                        <a:latin typeface="Gadugi" charset="0"/>
                        <a:cs typeface="Gadugi" charset="0"/>
                      </a:endParaRPr>
                    </a:p>
                  </a:txBody>
                  <a:tcPr marL="78377" marR="78377" marT="39189" marB="39189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r>
                        <a:rPr lang="en-US" sz="1900" dirty="0" smtClean="0">
                          <a:latin typeface="Gadugi" charset="0"/>
                          <a:cs typeface="Gadugi" charset="0"/>
                        </a:rPr>
                        <a:t>PRAW</a:t>
                      </a:r>
                      <a:endParaRPr lang="en-US" sz="1900" dirty="0">
                        <a:latin typeface="Gadugi" charset="0"/>
                        <a:cs typeface="Gadugi" charset="0"/>
                      </a:endParaRPr>
                    </a:p>
                  </a:txBody>
                  <a:tcPr marL="78377" marR="78377" marT="39189" marB="39189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</a:tr>
              <a:tr h="397157">
                <a:tc>
                  <a:txBody>
                    <a:bodyPr/>
                    <a:lstStyle/>
                    <a:p>
                      <a:r>
                        <a:rPr lang="en-US" sz="1900" dirty="0" err="1" smtClean="0">
                          <a:latin typeface="Gadugi" charset="0"/>
                          <a:cs typeface="Gadugi" charset="0"/>
                        </a:rPr>
                        <a:t>Flowlet</a:t>
                      </a:r>
                      <a:r>
                        <a:rPr lang="en-US" sz="1900" dirty="0" smtClean="0">
                          <a:latin typeface="Gadugi" charset="0"/>
                          <a:cs typeface="Gadugi" charset="0"/>
                        </a:rPr>
                        <a:t> switching</a:t>
                      </a:r>
                      <a:endParaRPr lang="en-US" sz="1900" dirty="0">
                        <a:latin typeface="Gadugi" charset="0"/>
                        <a:cs typeface="Gadugi" charset="0"/>
                      </a:endParaRPr>
                    </a:p>
                  </a:txBody>
                  <a:tcPr marL="78377" marR="78377" marT="39189" marB="39189"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900" dirty="0" smtClean="0">
                          <a:latin typeface="Gadugi" charset="0"/>
                          <a:cs typeface="Gadugi" charset="0"/>
                        </a:rPr>
                        <a:t>37</a:t>
                      </a:r>
                      <a:endParaRPr lang="en-US" sz="1900" dirty="0">
                        <a:latin typeface="Gadugi" charset="0"/>
                        <a:cs typeface="Gadugi" charset="0"/>
                      </a:endParaRPr>
                    </a:p>
                  </a:txBody>
                  <a:tcPr marL="78377" marR="78377" marT="39189" marB="39189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900" dirty="0" smtClean="0">
                          <a:latin typeface="Gadugi" charset="0"/>
                          <a:cs typeface="Gadugi" charset="0"/>
                        </a:rPr>
                        <a:t>3</a:t>
                      </a:r>
                      <a:endParaRPr lang="en-US" sz="1900" dirty="0">
                        <a:latin typeface="Gadugi" charset="0"/>
                        <a:cs typeface="Gadugi" charset="0"/>
                      </a:endParaRPr>
                    </a:p>
                  </a:txBody>
                  <a:tcPr marL="78377" marR="78377" marT="39189" marB="39189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900" dirty="0" smtClean="0">
                          <a:latin typeface="Gadugi" charset="0"/>
                          <a:cs typeface="Gadugi" charset="0"/>
                        </a:rPr>
                        <a:t>3</a:t>
                      </a:r>
                      <a:endParaRPr lang="en-US" sz="1900" dirty="0">
                        <a:latin typeface="Gadugi" charset="0"/>
                        <a:cs typeface="Gadugi" charset="0"/>
                      </a:endParaRPr>
                    </a:p>
                  </a:txBody>
                  <a:tcPr marL="78377" marR="78377" marT="39189" marB="39189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r>
                        <a:rPr lang="en-US" sz="1900" dirty="0" smtClean="0">
                          <a:latin typeface="Gadugi" charset="0"/>
                          <a:cs typeface="Gadugi" charset="0"/>
                        </a:rPr>
                        <a:t>PRAW</a:t>
                      </a:r>
                      <a:endParaRPr lang="en-US" sz="1900" dirty="0">
                        <a:latin typeface="Gadugi" charset="0"/>
                        <a:cs typeface="Gadugi" charset="0"/>
                      </a:endParaRPr>
                    </a:p>
                  </a:txBody>
                  <a:tcPr marL="78377" marR="78377" marT="39189" marB="39189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397157">
                <a:tc>
                  <a:txBody>
                    <a:bodyPr/>
                    <a:lstStyle/>
                    <a:p>
                      <a:r>
                        <a:rPr lang="en-US" sz="1900" dirty="0" smtClean="0">
                          <a:latin typeface="Gadugi" charset="0"/>
                          <a:cs typeface="Gadugi" charset="0"/>
                        </a:rPr>
                        <a:t>Sampled </a:t>
                      </a:r>
                      <a:r>
                        <a:rPr lang="en-US" sz="1900" dirty="0" err="1" smtClean="0">
                          <a:latin typeface="Gadugi" charset="0"/>
                          <a:cs typeface="Gadugi" charset="0"/>
                        </a:rPr>
                        <a:t>NetFlow</a:t>
                      </a:r>
                      <a:endParaRPr lang="en-US" sz="1900" dirty="0">
                        <a:latin typeface="Gadugi" charset="0"/>
                        <a:cs typeface="Gadugi" charset="0"/>
                      </a:endParaRPr>
                    </a:p>
                  </a:txBody>
                  <a:tcPr marL="78377" marR="78377" marT="39189" marB="39189"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900" dirty="0" smtClean="0">
                          <a:latin typeface="Gadugi" charset="0"/>
                          <a:cs typeface="Gadugi" charset="0"/>
                        </a:rPr>
                        <a:t>18</a:t>
                      </a:r>
                      <a:endParaRPr lang="en-US" sz="1900" dirty="0">
                        <a:latin typeface="Gadugi" charset="0"/>
                        <a:cs typeface="Gadugi" charset="0"/>
                      </a:endParaRPr>
                    </a:p>
                  </a:txBody>
                  <a:tcPr marL="78377" marR="78377" marT="39189" marB="39189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900" dirty="0" smtClean="0">
                          <a:latin typeface="Gadugi" charset="0"/>
                          <a:cs typeface="Gadugi" charset="0"/>
                        </a:rPr>
                        <a:t>4</a:t>
                      </a:r>
                      <a:endParaRPr lang="en-US" sz="1900" dirty="0">
                        <a:latin typeface="Gadugi" charset="0"/>
                        <a:cs typeface="Gadugi" charset="0"/>
                      </a:endParaRPr>
                    </a:p>
                  </a:txBody>
                  <a:tcPr marL="78377" marR="78377" marT="39189" marB="39189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900" dirty="0" smtClean="0">
                          <a:latin typeface="Gadugi" charset="0"/>
                          <a:cs typeface="Gadugi" charset="0"/>
                        </a:rPr>
                        <a:t>2</a:t>
                      </a:r>
                      <a:endParaRPr lang="en-US" sz="1900" dirty="0">
                        <a:latin typeface="Gadugi" charset="0"/>
                        <a:cs typeface="Gadugi" charset="0"/>
                      </a:endParaRPr>
                    </a:p>
                  </a:txBody>
                  <a:tcPr marL="78377" marR="78377" marT="39189" marB="39189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r>
                        <a:rPr lang="en-US" sz="1900" dirty="0" err="1" smtClean="0">
                          <a:latin typeface="Gadugi" charset="0"/>
                          <a:cs typeface="Gadugi" charset="0"/>
                        </a:rPr>
                        <a:t>IfElseRAW</a:t>
                      </a:r>
                      <a:endParaRPr lang="en-US" sz="1900" dirty="0">
                        <a:latin typeface="Gadugi" charset="0"/>
                        <a:cs typeface="Gadugi" charset="0"/>
                      </a:endParaRPr>
                    </a:p>
                  </a:txBody>
                  <a:tcPr marL="78377" marR="78377" marT="39189" marB="39189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397157">
                <a:tc>
                  <a:txBody>
                    <a:bodyPr/>
                    <a:lstStyle/>
                    <a:p>
                      <a:r>
                        <a:rPr lang="en-US" sz="1900" dirty="0" smtClean="0">
                          <a:latin typeface="Gadugi" charset="0"/>
                          <a:cs typeface="Gadugi" charset="0"/>
                        </a:rPr>
                        <a:t>HULL</a:t>
                      </a:r>
                      <a:endParaRPr lang="en-US" sz="1900" dirty="0">
                        <a:latin typeface="Gadugi" charset="0"/>
                        <a:cs typeface="Gadugi" charset="0"/>
                      </a:endParaRPr>
                    </a:p>
                  </a:txBody>
                  <a:tcPr marL="78377" marR="78377" marT="39189" marB="39189"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900" dirty="0" smtClean="0">
                          <a:latin typeface="Gadugi" charset="0"/>
                          <a:cs typeface="Gadugi" charset="0"/>
                        </a:rPr>
                        <a:t>26</a:t>
                      </a:r>
                      <a:endParaRPr lang="en-US" sz="1900" dirty="0">
                        <a:latin typeface="Gadugi" charset="0"/>
                        <a:cs typeface="Gadugi" charset="0"/>
                      </a:endParaRPr>
                    </a:p>
                  </a:txBody>
                  <a:tcPr marL="78377" marR="78377" marT="39189" marB="39189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900" dirty="0" smtClean="0">
                          <a:latin typeface="Gadugi" charset="0"/>
                          <a:cs typeface="Gadugi" charset="0"/>
                        </a:rPr>
                        <a:t>7</a:t>
                      </a:r>
                      <a:endParaRPr lang="en-US" sz="1900" dirty="0">
                        <a:latin typeface="Gadugi" charset="0"/>
                        <a:cs typeface="Gadugi" charset="0"/>
                      </a:endParaRPr>
                    </a:p>
                  </a:txBody>
                  <a:tcPr marL="78377" marR="78377" marT="39189" marB="39189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900" dirty="0" smtClean="0">
                          <a:latin typeface="Gadugi" charset="0"/>
                          <a:cs typeface="Gadugi" charset="0"/>
                        </a:rPr>
                        <a:t>1</a:t>
                      </a:r>
                      <a:endParaRPr lang="en-US" sz="1900" dirty="0">
                        <a:latin typeface="Gadugi" charset="0"/>
                        <a:cs typeface="Gadugi" charset="0"/>
                      </a:endParaRPr>
                    </a:p>
                  </a:txBody>
                  <a:tcPr marL="78377" marR="78377" marT="39189" marB="39189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r>
                        <a:rPr lang="en-US" sz="1900" dirty="0" smtClean="0">
                          <a:latin typeface="Gadugi" charset="0"/>
                          <a:cs typeface="Gadugi" charset="0"/>
                        </a:rPr>
                        <a:t>Sub</a:t>
                      </a:r>
                      <a:endParaRPr lang="en-US" sz="1900" dirty="0">
                        <a:latin typeface="Gadugi" charset="0"/>
                        <a:cs typeface="Gadugi" charset="0"/>
                      </a:endParaRPr>
                    </a:p>
                  </a:txBody>
                  <a:tcPr marL="78377" marR="78377" marT="39189" marB="39189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  <a:tr h="709209">
                <a:tc>
                  <a:txBody>
                    <a:bodyPr/>
                    <a:lstStyle/>
                    <a:p>
                      <a:r>
                        <a:rPr lang="en-US" sz="1900" dirty="0" smtClean="0">
                          <a:latin typeface="Gadugi" charset="0"/>
                          <a:cs typeface="Gadugi" charset="0"/>
                        </a:rPr>
                        <a:t>Adaptive Virtual Queue</a:t>
                      </a:r>
                      <a:endParaRPr lang="en-US" sz="1900" dirty="0">
                        <a:latin typeface="Gadugi" charset="0"/>
                        <a:cs typeface="Gadugi" charset="0"/>
                      </a:endParaRPr>
                    </a:p>
                  </a:txBody>
                  <a:tcPr marL="78377" marR="78377" marT="39189" marB="39189"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900" dirty="0" smtClean="0">
                          <a:latin typeface="Gadugi" charset="0"/>
                          <a:cs typeface="Gadugi" charset="0"/>
                        </a:rPr>
                        <a:t>36</a:t>
                      </a:r>
                      <a:endParaRPr lang="en-US" sz="1900" dirty="0">
                        <a:latin typeface="Gadugi" charset="0"/>
                        <a:cs typeface="Gadugi" charset="0"/>
                      </a:endParaRPr>
                    </a:p>
                  </a:txBody>
                  <a:tcPr marL="78377" marR="78377" marT="39189" marB="39189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900" dirty="0" smtClean="0">
                          <a:latin typeface="Gadugi" charset="0"/>
                          <a:cs typeface="Gadugi" charset="0"/>
                        </a:rPr>
                        <a:t>7</a:t>
                      </a:r>
                      <a:endParaRPr lang="en-US" sz="1900" dirty="0">
                        <a:latin typeface="Gadugi" charset="0"/>
                        <a:cs typeface="Gadugi" charset="0"/>
                      </a:endParaRPr>
                    </a:p>
                  </a:txBody>
                  <a:tcPr marL="78377" marR="78377" marT="39189" marB="39189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900" dirty="0" smtClean="0">
                          <a:latin typeface="Gadugi" charset="0"/>
                          <a:cs typeface="Gadugi" charset="0"/>
                        </a:rPr>
                        <a:t>3</a:t>
                      </a:r>
                      <a:endParaRPr lang="en-US" sz="1900" dirty="0">
                        <a:latin typeface="Gadugi" charset="0"/>
                        <a:cs typeface="Gadugi" charset="0"/>
                      </a:endParaRPr>
                    </a:p>
                  </a:txBody>
                  <a:tcPr marL="78377" marR="78377" marT="39189" marB="39189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r>
                        <a:rPr lang="en-US" sz="1900" dirty="0" smtClean="0">
                          <a:latin typeface="Gadugi" charset="0"/>
                          <a:cs typeface="Gadugi" charset="0"/>
                        </a:rPr>
                        <a:t>Nested</a:t>
                      </a:r>
                      <a:endParaRPr lang="en-US" sz="1900" dirty="0">
                        <a:latin typeface="Gadugi" charset="0"/>
                        <a:cs typeface="Gadugi" charset="0"/>
                      </a:endParaRPr>
                    </a:p>
                  </a:txBody>
                  <a:tcPr marL="78377" marR="78377" marT="39189" marB="39189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xmlns="" val="10007"/>
                  </a:ext>
                </a:extLst>
              </a:tr>
              <a:tr h="397157">
                <a:tc>
                  <a:txBody>
                    <a:bodyPr/>
                    <a:lstStyle/>
                    <a:p>
                      <a:r>
                        <a:rPr lang="en-US" sz="1900" dirty="0" smtClean="0">
                          <a:latin typeface="Gadugi" charset="0"/>
                          <a:cs typeface="Gadugi" charset="0"/>
                        </a:rPr>
                        <a:t>CONGA</a:t>
                      </a:r>
                      <a:endParaRPr lang="en-US" sz="1900" dirty="0">
                        <a:latin typeface="Gadugi" charset="0"/>
                        <a:cs typeface="Gadugi" charset="0"/>
                      </a:endParaRPr>
                    </a:p>
                  </a:txBody>
                  <a:tcPr marL="78377" marR="78377" marT="39189" marB="39189"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900" dirty="0" smtClean="0">
                          <a:latin typeface="Gadugi" charset="0"/>
                          <a:cs typeface="Gadugi" charset="0"/>
                        </a:rPr>
                        <a:t>32</a:t>
                      </a:r>
                      <a:endParaRPr lang="en-US" sz="1900" dirty="0">
                        <a:latin typeface="Gadugi" charset="0"/>
                        <a:cs typeface="Gadugi" charset="0"/>
                      </a:endParaRPr>
                    </a:p>
                  </a:txBody>
                  <a:tcPr marL="78377" marR="78377" marT="39189" marB="39189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900" dirty="0" smtClean="0">
                          <a:latin typeface="Gadugi" charset="0"/>
                          <a:cs typeface="Gadugi" charset="0"/>
                        </a:rPr>
                        <a:t>4</a:t>
                      </a:r>
                      <a:endParaRPr lang="en-US" sz="1900" dirty="0">
                        <a:latin typeface="Gadugi" charset="0"/>
                        <a:cs typeface="Gadugi" charset="0"/>
                      </a:endParaRPr>
                    </a:p>
                  </a:txBody>
                  <a:tcPr marL="78377" marR="78377" marT="39189" marB="39189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900" dirty="0" smtClean="0">
                          <a:latin typeface="Gadugi" charset="0"/>
                          <a:cs typeface="Gadugi" charset="0"/>
                        </a:rPr>
                        <a:t>2</a:t>
                      </a:r>
                      <a:endParaRPr lang="en-US" sz="1900" dirty="0">
                        <a:latin typeface="Gadugi" charset="0"/>
                        <a:cs typeface="Gadugi" charset="0"/>
                      </a:endParaRPr>
                    </a:p>
                  </a:txBody>
                  <a:tcPr marL="78377" marR="78377" marT="39189" marB="39189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r>
                        <a:rPr lang="en-US" sz="1900" dirty="0" smtClean="0">
                          <a:latin typeface="Gadugi" charset="0"/>
                          <a:cs typeface="Gadugi" charset="0"/>
                        </a:rPr>
                        <a:t>Pairs</a:t>
                      </a:r>
                      <a:endParaRPr lang="en-US" sz="1900" dirty="0">
                        <a:latin typeface="Gadugi" charset="0"/>
                        <a:cs typeface="Gadugi" charset="0"/>
                      </a:endParaRPr>
                    </a:p>
                  </a:txBody>
                  <a:tcPr marL="78377" marR="78377" marT="39189" marB="39189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xmlns="" val="10008"/>
                  </a:ext>
                </a:extLst>
              </a:tr>
              <a:tr h="653143">
                <a:tc>
                  <a:txBody>
                    <a:bodyPr/>
                    <a:lstStyle/>
                    <a:p>
                      <a:r>
                        <a:rPr lang="en-US" sz="1900" dirty="0" err="1" smtClean="0">
                          <a:latin typeface="Gadugi" charset="0"/>
                          <a:cs typeface="Gadugi" charset="0"/>
                        </a:rPr>
                        <a:t>CoDel</a:t>
                      </a:r>
                      <a:endParaRPr lang="en-US" sz="1900" dirty="0">
                        <a:latin typeface="Gadugi" charset="0"/>
                        <a:cs typeface="Gadugi" charset="0"/>
                      </a:endParaRPr>
                    </a:p>
                  </a:txBody>
                  <a:tcPr marL="78377" marR="78377" marT="39189" marB="39189"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900" dirty="0" smtClean="0">
                          <a:latin typeface="Gadugi" charset="0"/>
                          <a:cs typeface="Gadugi" charset="0"/>
                        </a:rPr>
                        <a:t>57</a:t>
                      </a:r>
                      <a:endParaRPr lang="en-US" sz="1900" dirty="0">
                        <a:latin typeface="Gadugi" charset="0"/>
                        <a:cs typeface="Gadugi" charset="0"/>
                      </a:endParaRPr>
                    </a:p>
                  </a:txBody>
                  <a:tcPr marL="78377" marR="78377" marT="39189" marB="39189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900" dirty="0" smtClean="0">
                          <a:latin typeface="Gadugi" charset="0"/>
                          <a:cs typeface="Gadugi" charset="0"/>
                        </a:rPr>
                        <a:t>15</a:t>
                      </a:r>
                      <a:endParaRPr lang="en-US" sz="1900" dirty="0">
                        <a:latin typeface="Gadugi" charset="0"/>
                        <a:cs typeface="Gadugi" charset="0"/>
                      </a:endParaRPr>
                    </a:p>
                  </a:txBody>
                  <a:tcPr marL="78377" marR="78377" marT="39189" marB="39189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900" dirty="0" smtClean="0">
                          <a:latin typeface="Gadugi" charset="0"/>
                          <a:cs typeface="Gadugi" charset="0"/>
                        </a:rPr>
                        <a:t>3</a:t>
                      </a:r>
                      <a:endParaRPr lang="en-US" sz="1900" dirty="0">
                        <a:latin typeface="Gadugi" charset="0"/>
                        <a:cs typeface="Gadugi" charset="0"/>
                      </a:endParaRPr>
                    </a:p>
                  </a:txBody>
                  <a:tcPr marL="78377" marR="78377" marT="39189" marB="39189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r>
                        <a:rPr lang="en-US" sz="1900" b="1" dirty="0" smtClean="0">
                          <a:solidFill>
                            <a:srgbClr val="FF0000"/>
                          </a:solidFill>
                          <a:latin typeface="Gadugi" charset="0"/>
                          <a:cs typeface="Gadugi" charset="0"/>
                        </a:rPr>
                        <a:t>Doesn’t map</a:t>
                      </a:r>
                      <a:endParaRPr lang="en-US" sz="1900" b="1" dirty="0">
                        <a:solidFill>
                          <a:srgbClr val="FF0000"/>
                        </a:solidFill>
                        <a:latin typeface="Gadugi" charset="0"/>
                        <a:cs typeface="Gadugi" charset="0"/>
                      </a:endParaRPr>
                    </a:p>
                  </a:txBody>
                  <a:tcPr marL="78377" marR="78377" marT="39189" marB="39189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xmlns="" val="10009"/>
                  </a:ext>
                </a:extLst>
              </a:tr>
            </a:tbl>
          </a:graphicData>
        </a:graphic>
      </p:graphicFrame>
      <p:sp>
        <p:nvSpPr>
          <p:cNvPr id="2089" name="Title 1"/>
          <p:cNvSpPr txBox="1">
            <a:spLocks/>
          </p:cNvSpPr>
          <p:nvPr/>
        </p:nvSpPr>
        <p:spPr>
          <a:xfrm>
            <a:off x="11474076" y="15044947"/>
            <a:ext cx="3358909" cy="1087687"/>
          </a:xfrm>
          <a:prstGeom prst="rect">
            <a:avLst/>
          </a:prstGeom>
        </p:spPr>
        <p:txBody>
          <a:bodyPr vert="horz" lIns="67927" tIns="33963" rIns="67927" bIns="33963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rgbClr val="C00000"/>
                </a:solidFill>
                <a:latin typeface="Gadugi" panose="020B0502040204020203" pitchFamily="34" charset="0"/>
                <a:ea typeface="+mj-ea"/>
                <a:cs typeface="+mj-cs"/>
              </a:defRPr>
            </a:lvl1pPr>
          </a:lstStyle>
          <a:p>
            <a:r>
              <a:rPr lang="en-US" sz="2377" b="1" dirty="0"/>
              <a:t>A family </a:t>
            </a:r>
            <a:r>
              <a:rPr lang="en-US" sz="2377" b="1"/>
              <a:t>of atoms</a:t>
            </a:r>
            <a:endParaRPr lang="en-US" sz="2377" b="1" dirty="0"/>
          </a:p>
        </p:txBody>
      </p:sp>
      <p:sp>
        <p:nvSpPr>
          <p:cNvPr id="2090" name="Rounded Rectangle 2089"/>
          <p:cNvSpPr/>
          <p:nvPr/>
        </p:nvSpPr>
        <p:spPr>
          <a:xfrm>
            <a:off x="11008546" y="20153100"/>
            <a:ext cx="8368852" cy="6364500"/>
          </a:xfrm>
          <a:prstGeom prst="roundRect">
            <a:avLst/>
          </a:prstGeom>
          <a:noFill/>
          <a:ln w="1270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028"/>
          </a:p>
        </p:txBody>
      </p:sp>
      <p:sp>
        <p:nvSpPr>
          <p:cNvPr id="2091" name="Title 1"/>
          <p:cNvSpPr txBox="1">
            <a:spLocks/>
          </p:cNvSpPr>
          <p:nvPr/>
        </p:nvSpPr>
        <p:spPr>
          <a:xfrm>
            <a:off x="11671590" y="19888200"/>
            <a:ext cx="3358909" cy="1087687"/>
          </a:xfrm>
          <a:prstGeom prst="rect">
            <a:avLst/>
          </a:prstGeom>
        </p:spPr>
        <p:txBody>
          <a:bodyPr vert="horz" lIns="67927" tIns="33963" rIns="67927" bIns="33963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rgbClr val="C00000"/>
                </a:solidFill>
                <a:latin typeface="Gadugi" panose="020B0502040204020203" pitchFamily="34" charset="0"/>
                <a:ea typeface="+mj-ea"/>
                <a:cs typeface="+mj-cs"/>
              </a:defRPr>
            </a:lvl1pPr>
          </a:lstStyle>
          <a:p>
            <a:r>
              <a:rPr lang="en-US" sz="2377" b="1" dirty="0"/>
              <a:t>Compilation results</a:t>
            </a:r>
          </a:p>
        </p:txBody>
      </p:sp>
      <p:sp>
        <p:nvSpPr>
          <p:cNvPr id="2092" name="Rounded Rectangle 2091"/>
          <p:cNvSpPr/>
          <p:nvPr/>
        </p:nvSpPr>
        <p:spPr>
          <a:xfrm>
            <a:off x="1260083" y="15660717"/>
            <a:ext cx="9252857" cy="5323241"/>
          </a:xfrm>
          <a:prstGeom prst="roundRect">
            <a:avLst/>
          </a:prstGeom>
          <a:noFill/>
          <a:ln w="1270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028"/>
          </a:p>
        </p:txBody>
      </p:sp>
      <p:sp>
        <p:nvSpPr>
          <p:cNvPr id="2093" name="Title 1"/>
          <p:cNvSpPr txBox="1">
            <a:spLocks/>
          </p:cNvSpPr>
          <p:nvPr/>
        </p:nvSpPr>
        <p:spPr>
          <a:xfrm>
            <a:off x="1953801" y="22265279"/>
            <a:ext cx="6631119" cy="984704"/>
          </a:xfrm>
          <a:prstGeom prst="rect">
            <a:avLst/>
          </a:prstGeom>
        </p:spPr>
        <p:txBody>
          <a:bodyPr vert="horz" lIns="67927" tIns="33963" rIns="67927" bIns="33963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rgbClr val="C00000"/>
                </a:solidFill>
                <a:latin typeface="Gadugi" panose="020B0502040204020203" pitchFamily="34" charset="0"/>
                <a:ea typeface="+mj-ea"/>
                <a:cs typeface="+mj-cs"/>
              </a:defRPr>
            </a:lvl1pPr>
          </a:lstStyle>
          <a:p>
            <a:r>
              <a:rPr lang="en-US" sz="2377" b="1" dirty="0"/>
              <a:t>Two abstractions for line-rate programming</a:t>
            </a:r>
          </a:p>
        </p:txBody>
      </p:sp>
      <p:sp>
        <p:nvSpPr>
          <p:cNvPr id="2094" name="TextBox 2093"/>
          <p:cNvSpPr txBox="1"/>
          <p:nvPr/>
        </p:nvSpPr>
        <p:spPr>
          <a:xfrm>
            <a:off x="1705292" y="23121257"/>
            <a:ext cx="7128135" cy="29413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91886" indent="-391886">
              <a:buFont typeface="Arial" charset="0"/>
              <a:buChar char="•"/>
            </a:pPr>
            <a:r>
              <a:rPr lang="en-US" sz="2314" dirty="0">
                <a:latin typeface="Gadugi" charset="0"/>
                <a:ea typeface="Gadugi" charset="0"/>
                <a:cs typeface="Gadugi" charset="0"/>
              </a:rPr>
              <a:t>Packet transactions</a:t>
            </a:r>
          </a:p>
          <a:p>
            <a:pPr marL="600045" lvl="1" indent="-225867">
              <a:buFont typeface="Arial" charset="0"/>
              <a:buChar char="•"/>
            </a:pPr>
            <a:r>
              <a:rPr lang="en-US" sz="2314" dirty="0" err="1">
                <a:latin typeface="Gadugi" charset="0"/>
                <a:ea typeface="Gadugi" charset="0"/>
                <a:cs typeface="Gadugi" charset="0"/>
              </a:rPr>
              <a:t>Stateful</a:t>
            </a:r>
            <a:r>
              <a:rPr lang="en-US" sz="2314" dirty="0">
                <a:latin typeface="Gadugi" charset="0"/>
                <a:ea typeface="Gadugi" charset="0"/>
                <a:cs typeface="Gadugi" charset="0"/>
              </a:rPr>
              <a:t> algorithms</a:t>
            </a:r>
          </a:p>
          <a:p>
            <a:pPr marL="600045" lvl="1" indent="-225867">
              <a:buFont typeface="Arial" charset="0"/>
              <a:buChar char="•"/>
            </a:pPr>
            <a:r>
              <a:rPr lang="en-US" sz="2314" dirty="0">
                <a:latin typeface="Gadugi" charset="0"/>
                <a:ea typeface="Gadugi" charset="0"/>
                <a:cs typeface="Gadugi" charset="0"/>
              </a:rPr>
              <a:t>C-like syntax</a:t>
            </a:r>
          </a:p>
          <a:p>
            <a:pPr marL="600045" lvl="1" indent="-225867">
              <a:buFont typeface="Arial" charset="0"/>
              <a:buChar char="•"/>
            </a:pPr>
            <a:r>
              <a:rPr lang="en-US" sz="2314" dirty="0">
                <a:latin typeface="Gadugi" charset="0"/>
                <a:ea typeface="Gadugi" charset="0"/>
                <a:cs typeface="Gadugi" charset="0"/>
              </a:rPr>
              <a:t>Automatically compile to a router pipeline</a:t>
            </a:r>
          </a:p>
          <a:p>
            <a:pPr marL="600045" lvl="1" indent="-225867">
              <a:buFont typeface="Arial" charset="0"/>
              <a:buChar char="•"/>
            </a:pPr>
            <a:endParaRPr lang="en-US" sz="2314" dirty="0">
              <a:latin typeface="Gadugi" charset="0"/>
              <a:ea typeface="Gadugi" charset="0"/>
              <a:cs typeface="Gadugi" charset="0"/>
            </a:endParaRPr>
          </a:p>
          <a:p>
            <a:pPr marL="391886" indent="-391886">
              <a:buFont typeface="Arial" charset="0"/>
              <a:buChar char="•"/>
            </a:pPr>
            <a:r>
              <a:rPr lang="en-US" sz="2314" dirty="0">
                <a:latin typeface="Gadugi" charset="0"/>
                <a:ea typeface="Gadugi" charset="0"/>
                <a:cs typeface="Gadugi" charset="0"/>
              </a:rPr>
              <a:t>Push-In  First-Out (PIFO) queues</a:t>
            </a:r>
          </a:p>
          <a:p>
            <a:pPr marL="600045" lvl="1" indent="-225867">
              <a:buFont typeface="Arial" charset="0"/>
              <a:buChar char="•"/>
            </a:pPr>
            <a:r>
              <a:rPr lang="en-US" sz="2314" dirty="0">
                <a:latin typeface="Gadugi" charset="0"/>
                <a:ea typeface="Gadugi" charset="0"/>
                <a:cs typeface="Gadugi" charset="0"/>
              </a:rPr>
              <a:t>Expresses many scheduling algorithms</a:t>
            </a:r>
          </a:p>
          <a:p>
            <a:pPr marL="600045" lvl="1" indent="-225867">
              <a:buFont typeface="Arial" charset="0"/>
              <a:buChar char="•"/>
            </a:pPr>
            <a:r>
              <a:rPr lang="en-US" sz="2314" dirty="0">
                <a:latin typeface="Gadugi" charset="0"/>
                <a:ea typeface="Gadugi" charset="0"/>
                <a:cs typeface="Gadugi" charset="0"/>
              </a:rPr>
              <a:t>Modest area overhead</a:t>
            </a:r>
          </a:p>
        </p:txBody>
      </p:sp>
      <p:sp>
        <p:nvSpPr>
          <p:cNvPr id="2095" name="Content Placeholder 2"/>
          <p:cNvSpPr txBox="1">
            <a:spLocks/>
          </p:cNvSpPr>
          <p:nvPr/>
        </p:nvSpPr>
        <p:spPr>
          <a:xfrm>
            <a:off x="19986176" y="5249816"/>
            <a:ext cx="7511143" cy="1925766"/>
          </a:xfrm>
          <a:prstGeom prst="rect">
            <a:avLst/>
          </a:prstGeom>
        </p:spPr>
        <p:txBody>
          <a:bodyPr>
            <a:normAutofit lnSpcReduction="10000"/>
          </a:bodyPr>
          <a:lstStyle>
            <a:lvl1pPr marL="905865" indent="-905865" algn="l" defTabSz="241563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843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62704" indent="-754887" algn="l" defTabSz="241563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739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019547" indent="-603910" algn="l" defTabSz="241563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635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227367" indent="-603910" algn="l" defTabSz="241563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525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35184" indent="-603910" algn="l" defTabSz="2415637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525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643001" indent="-603910" algn="l" defTabSz="241563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525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850820" indent="-603910" algn="l" defTabSz="241563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525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9058639" indent="-603910" algn="l" defTabSz="241563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525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0266459" indent="-603910" algn="l" defTabSz="241563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525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775568" indent="-175524"/>
            <a:r>
              <a:rPr lang="en-US" sz="2083" dirty="0">
                <a:latin typeface="Gadugi" charset="0"/>
                <a:ea typeface="Gadugi" charset="0"/>
                <a:cs typeface="Gadugi" charset="0"/>
              </a:rPr>
              <a:t>Decades of scheduling algorithms, but no consensus on</a:t>
            </a:r>
          </a:p>
          <a:p>
            <a:pPr marL="600045" indent="0">
              <a:buNone/>
            </a:pPr>
            <a:r>
              <a:rPr lang="en-US" sz="2083" dirty="0">
                <a:latin typeface="Gadugi" charset="0"/>
                <a:ea typeface="Gadugi" charset="0"/>
                <a:cs typeface="Gadugi" charset="0"/>
              </a:rPr>
              <a:t>   abstractions for scheduling. In </a:t>
            </a:r>
            <a:r>
              <a:rPr lang="en-US" sz="2083">
                <a:latin typeface="Gadugi" charset="0"/>
                <a:ea typeface="Gadugi" charset="0"/>
                <a:cs typeface="Gadugi" charset="0"/>
              </a:rPr>
              <a:t>contrast </a:t>
            </a:r>
            <a:r>
              <a:rPr lang="en-US" sz="2083" smtClean="0">
                <a:latin typeface="Gadugi" charset="0"/>
                <a:ea typeface="Gadugi" charset="0"/>
                <a:cs typeface="Gadugi" charset="0"/>
              </a:rPr>
              <a:t>to:</a:t>
            </a:r>
          </a:p>
          <a:p>
            <a:pPr lvl="1"/>
            <a:r>
              <a:rPr lang="en-US" sz="2083" smtClean="0">
                <a:latin typeface="Gadugi" charset="0"/>
                <a:ea typeface="Gadugi" charset="0"/>
                <a:cs typeface="Gadugi" charset="0"/>
              </a:rPr>
              <a:t>Parse graphs for parsing</a:t>
            </a:r>
          </a:p>
          <a:p>
            <a:pPr lvl="1"/>
            <a:r>
              <a:rPr lang="en-US" sz="2083" dirty="0" smtClean="0">
                <a:latin typeface="Gadugi" charset="0"/>
                <a:ea typeface="Gadugi" charset="0"/>
                <a:cs typeface="Gadugi" charset="0"/>
              </a:rPr>
              <a:t>Match-action </a:t>
            </a:r>
            <a:r>
              <a:rPr lang="en-US" sz="2083" dirty="0">
                <a:latin typeface="Gadugi" charset="0"/>
                <a:ea typeface="Gadugi" charset="0"/>
                <a:cs typeface="Gadugi" charset="0"/>
              </a:rPr>
              <a:t>tables for forwarding</a:t>
            </a:r>
          </a:p>
          <a:p>
            <a:pPr marL="775568" indent="-175524"/>
            <a:r>
              <a:rPr lang="en-US" sz="2083" dirty="0">
                <a:latin typeface="Gadugi" charset="0"/>
                <a:ea typeface="Gadugi" charset="0"/>
                <a:cs typeface="Gadugi" charset="0"/>
              </a:rPr>
              <a:t>The scheduler has very tight timing requirements</a:t>
            </a:r>
          </a:p>
        </p:txBody>
      </p:sp>
      <p:sp>
        <p:nvSpPr>
          <p:cNvPr id="2096" name="Rounded Rectangle 2095"/>
          <p:cNvSpPr/>
          <p:nvPr/>
        </p:nvSpPr>
        <p:spPr>
          <a:xfrm>
            <a:off x="20123442" y="7263221"/>
            <a:ext cx="7759667" cy="947057"/>
          </a:xfrm>
          <a:prstGeom prst="roundRect">
            <a:avLst/>
          </a:prstGeom>
          <a:solidFill>
            <a:srgbClr val="901028"/>
          </a:solidFill>
          <a:ln/>
          <a:scene3d>
            <a:camera prst="orthographicFront"/>
            <a:lightRig rig="threePt" dir="t"/>
          </a:scene3d>
          <a:sp3d>
            <a:bevelT/>
          </a:sp3d>
        </p:spPr>
        <p:style>
          <a:lnRef idx="0">
            <a:schemeClr val="dk1"/>
          </a:lnRef>
          <a:fillRef idx="3">
            <a:schemeClr val="dk1"/>
          </a:fillRef>
          <a:effectRef idx="3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086" dirty="0">
                <a:latin typeface="Gadugi" charset="0"/>
                <a:cs typeface="Gadugi" charset="0"/>
              </a:rPr>
              <a:t>Need an expressive abstraction that can run at line rate</a:t>
            </a:r>
          </a:p>
        </p:txBody>
      </p:sp>
      <p:sp>
        <p:nvSpPr>
          <p:cNvPr id="2099" name="Content Placeholder 2"/>
          <p:cNvSpPr txBox="1">
            <a:spLocks/>
          </p:cNvSpPr>
          <p:nvPr/>
        </p:nvSpPr>
        <p:spPr>
          <a:xfrm>
            <a:off x="20384686" y="10349293"/>
            <a:ext cx="7458279" cy="2789985"/>
          </a:xfrm>
          <a:prstGeom prst="rect">
            <a:avLst/>
          </a:prstGeom>
        </p:spPr>
        <p:txBody>
          <a:bodyPr>
            <a:normAutofit/>
          </a:bodyPr>
          <a:lstStyle>
            <a:lvl1pPr marL="905865" indent="-905865" algn="l" defTabSz="241563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843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62704" indent="-754887" algn="l" defTabSz="241563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739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019547" indent="-603910" algn="l" defTabSz="241563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635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227367" indent="-603910" algn="l" defTabSz="241563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525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35184" indent="-603910" algn="l" defTabSz="2415637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525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643001" indent="-603910" algn="l" defTabSz="241563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525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850820" indent="-603910" algn="l" defTabSz="241563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525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9058639" indent="-603910" algn="l" defTabSz="241563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525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0266459" indent="-603910" algn="l" defTabSz="241563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525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83" dirty="0">
                <a:latin typeface="Gadugi" charset="0"/>
                <a:ea typeface="Gadugi" charset="0"/>
                <a:cs typeface="Gadugi" charset="0"/>
              </a:rPr>
              <a:t>It decides in what </a:t>
            </a:r>
            <a:r>
              <a:rPr lang="en-US" sz="2083" b="1" dirty="0">
                <a:solidFill>
                  <a:srgbClr val="901028"/>
                </a:solidFill>
                <a:latin typeface="Gadugi" charset="0"/>
                <a:ea typeface="Gadugi" charset="0"/>
                <a:cs typeface="Gadugi" charset="0"/>
              </a:rPr>
              <a:t>order</a:t>
            </a:r>
            <a:r>
              <a:rPr lang="en-US" sz="2083" dirty="0">
                <a:latin typeface="Gadugi" charset="0"/>
                <a:ea typeface="Gadugi" charset="0"/>
                <a:cs typeface="Gadugi" charset="0"/>
              </a:rPr>
              <a:t> packets are sent</a:t>
            </a:r>
          </a:p>
          <a:p>
            <a:pPr marL="775568" indent="-401391"/>
            <a:r>
              <a:rPr lang="en-US" sz="2083" dirty="0">
                <a:latin typeface="Gadugi" charset="0"/>
                <a:ea typeface="Gadugi" charset="0"/>
                <a:cs typeface="Gadugi" charset="0"/>
              </a:rPr>
              <a:t>E.g., FCFS, priorities, weighted fair-queueing</a:t>
            </a:r>
            <a:endParaRPr lang="en-US" sz="2083" dirty="0"/>
          </a:p>
          <a:p>
            <a:pPr marL="0" indent="0">
              <a:buNone/>
            </a:pPr>
            <a:endParaRPr lang="en-US" sz="1029" dirty="0"/>
          </a:p>
          <a:p>
            <a:pPr marL="0" indent="0">
              <a:buNone/>
            </a:pPr>
            <a:r>
              <a:rPr lang="en-US" sz="2083" b="1" dirty="0">
                <a:solidFill>
                  <a:srgbClr val="3366FF"/>
                </a:solidFill>
                <a:latin typeface="Gadugi" charset="0"/>
                <a:ea typeface="Gadugi" charset="0"/>
                <a:cs typeface="Gadugi" charset="0"/>
              </a:rPr>
              <a:t>Key observation</a:t>
            </a:r>
          </a:p>
          <a:p>
            <a:pPr marL="775568" indent="-401391"/>
            <a:r>
              <a:rPr lang="en-US" sz="2083" dirty="0">
                <a:latin typeface="Gadugi" charset="0"/>
                <a:ea typeface="Gadugi" charset="0"/>
                <a:cs typeface="Gadugi" charset="0"/>
              </a:rPr>
              <a:t>In many algorithms, the order can be determined before </a:t>
            </a:r>
            <a:r>
              <a:rPr lang="en-US" sz="2083" dirty="0" err="1">
                <a:latin typeface="Gadugi" charset="0"/>
                <a:ea typeface="Gadugi" charset="0"/>
                <a:cs typeface="Gadugi" charset="0"/>
              </a:rPr>
              <a:t>enqueue</a:t>
            </a:r>
            <a:endParaRPr lang="en-US" sz="2083" dirty="0">
              <a:latin typeface="Gadugi" charset="0"/>
              <a:ea typeface="Gadugi" charset="0"/>
              <a:cs typeface="Gadugi" charset="0"/>
            </a:endParaRPr>
          </a:p>
          <a:p>
            <a:pPr marL="775568" indent="-401391"/>
            <a:r>
              <a:rPr lang="en-US" sz="2083" dirty="0">
                <a:latin typeface="Gadugi" charset="0"/>
                <a:ea typeface="Gadugi" charset="0"/>
                <a:cs typeface="Gadugi" charset="0"/>
              </a:rPr>
              <a:t>i.e., relative order of buffered packets does not change</a:t>
            </a:r>
          </a:p>
        </p:txBody>
      </p:sp>
      <p:sp>
        <p:nvSpPr>
          <p:cNvPr id="2102" name="Title 1"/>
          <p:cNvSpPr txBox="1">
            <a:spLocks/>
          </p:cNvSpPr>
          <p:nvPr/>
        </p:nvSpPr>
        <p:spPr>
          <a:xfrm>
            <a:off x="20565923" y="13946510"/>
            <a:ext cx="7317173" cy="984704"/>
          </a:xfrm>
          <a:prstGeom prst="rect">
            <a:avLst/>
          </a:prstGeom>
        </p:spPr>
        <p:txBody>
          <a:bodyPr vert="horz" lIns="67927" tIns="33963" rIns="67927" bIns="33963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Gadugi" panose="020B0502040204020203" pitchFamily="34" charset="0"/>
                <a:ea typeface="+mj-ea"/>
                <a:cs typeface="+mj-cs"/>
              </a:defRPr>
            </a:lvl1pPr>
          </a:lstStyle>
          <a:p>
            <a:r>
              <a:rPr lang="en-US" sz="2377" b="1" dirty="0">
                <a:solidFill>
                  <a:srgbClr val="C00000"/>
                </a:solidFill>
                <a:latin typeface="Gadugi"/>
              </a:rPr>
              <a:t>The Push-In First-Out Queue</a:t>
            </a:r>
          </a:p>
        </p:txBody>
      </p:sp>
      <p:grpSp>
        <p:nvGrpSpPr>
          <p:cNvPr id="2103" name="Group 2102"/>
          <p:cNvGrpSpPr/>
          <p:nvPr/>
        </p:nvGrpSpPr>
        <p:grpSpPr>
          <a:xfrm>
            <a:off x="20384682" y="14673164"/>
            <a:ext cx="3806718" cy="2884714"/>
            <a:chOff x="2235200" y="2667000"/>
            <a:chExt cx="3098800" cy="3365500"/>
          </a:xfrm>
        </p:grpSpPr>
        <p:sp>
          <p:nvSpPr>
            <p:cNvPr id="2104" name="Rectangle 2103"/>
            <p:cNvSpPr/>
            <p:nvPr/>
          </p:nvSpPr>
          <p:spPr>
            <a:xfrm>
              <a:off x="2235200" y="3238500"/>
              <a:ext cx="3048000" cy="2794000"/>
            </a:xfrm>
            <a:prstGeom prst="rect">
              <a:avLst/>
            </a:prstGeom>
            <a:solidFill>
              <a:schemeClr val="accent4">
                <a:lumMod val="40000"/>
                <a:lumOff val="60000"/>
                <a:alpha val="70000"/>
              </a:schemeClr>
            </a:solidFill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7028"/>
            </a:p>
          </p:txBody>
        </p:sp>
        <p:sp>
          <p:nvSpPr>
            <p:cNvPr id="2105" name="TextBox 2104"/>
            <p:cNvSpPr txBox="1"/>
            <p:nvPr/>
          </p:nvSpPr>
          <p:spPr>
            <a:xfrm>
              <a:off x="2286000" y="2667000"/>
              <a:ext cx="3048000" cy="47704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2057" dirty="0">
                  <a:latin typeface="Gadugi" charset="0"/>
                  <a:cs typeface="Gadugi" charset="0"/>
                </a:rPr>
                <a:t>Rank Computation</a:t>
              </a:r>
            </a:p>
          </p:txBody>
        </p:sp>
      </p:grpSp>
      <p:grpSp>
        <p:nvGrpSpPr>
          <p:cNvPr id="2107" name="Group 2106"/>
          <p:cNvGrpSpPr/>
          <p:nvPr/>
        </p:nvGrpSpPr>
        <p:grpSpPr>
          <a:xfrm>
            <a:off x="24751002" y="14673182"/>
            <a:ext cx="2746319" cy="2838095"/>
            <a:chOff x="6397161" y="2548235"/>
            <a:chExt cx="3204039" cy="3311111"/>
          </a:xfrm>
        </p:grpSpPr>
        <p:grpSp>
          <p:nvGrpSpPr>
            <p:cNvPr id="2108" name="Group 2107"/>
            <p:cNvGrpSpPr/>
            <p:nvPr/>
          </p:nvGrpSpPr>
          <p:grpSpPr>
            <a:xfrm>
              <a:off x="6397161" y="2548235"/>
              <a:ext cx="3204039" cy="3311111"/>
              <a:chOff x="6397161" y="2548235"/>
              <a:chExt cx="3204039" cy="3311111"/>
            </a:xfrm>
          </p:grpSpPr>
          <p:grpSp>
            <p:nvGrpSpPr>
              <p:cNvPr id="2110" name="Group 2109"/>
              <p:cNvGrpSpPr/>
              <p:nvPr/>
            </p:nvGrpSpPr>
            <p:grpSpPr>
              <a:xfrm>
                <a:off x="6397161" y="3124200"/>
                <a:ext cx="3204039" cy="2735146"/>
                <a:chOff x="6431622" y="3360854"/>
                <a:chExt cx="3204039" cy="2735146"/>
              </a:xfrm>
            </p:grpSpPr>
            <p:sp>
              <p:nvSpPr>
                <p:cNvPr id="2112" name="Rectangle 2111"/>
                <p:cNvSpPr/>
                <p:nvPr/>
              </p:nvSpPr>
              <p:spPr>
                <a:xfrm>
                  <a:off x="6431622" y="3360854"/>
                  <a:ext cx="3204039" cy="2735146"/>
                </a:xfrm>
                <a:prstGeom prst="rect">
                  <a:avLst/>
                </a:prstGeom>
                <a:ln>
                  <a:solidFill>
                    <a:schemeClr val="tx1"/>
                  </a:solidFill>
                </a:ln>
              </p:spPr>
              <p:style>
                <a:lnRef idx="1">
                  <a:schemeClr val="accent3"/>
                </a:lnRef>
                <a:fillRef idx="2">
                  <a:schemeClr val="accent3"/>
                </a:fillRef>
                <a:effectRef idx="1">
                  <a:schemeClr val="accent3"/>
                </a:effectRef>
                <a:fontRef idx="minor">
                  <a:schemeClr val="dk1"/>
                </a:fontRef>
              </p:style>
              <p:txBody>
                <a:bodyPr rtlCol="0" anchor="ctr"/>
                <a:lstStyle/>
                <a:p>
                  <a:pPr algn="ctr"/>
                  <a:endParaRPr lang="en-US" sz="7028"/>
                </a:p>
              </p:txBody>
            </p:sp>
            <p:grpSp>
              <p:nvGrpSpPr>
                <p:cNvPr id="2113" name="Group 2112"/>
                <p:cNvGrpSpPr/>
                <p:nvPr/>
              </p:nvGrpSpPr>
              <p:grpSpPr>
                <a:xfrm>
                  <a:off x="6892503" y="4038600"/>
                  <a:ext cx="2175291" cy="1228293"/>
                  <a:chOff x="3906054" y="6114996"/>
                  <a:chExt cx="1050221" cy="563990"/>
                </a:xfrm>
              </p:grpSpPr>
              <p:grpSp>
                <p:nvGrpSpPr>
                  <p:cNvPr id="2114" name="Group 2113"/>
                  <p:cNvGrpSpPr/>
                  <p:nvPr/>
                </p:nvGrpSpPr>
                <p:grpSpPr>
                  <a:xfrm>
                    <a:off x="3906054" y="6114996"/>
                    <a:ext cx="1050221" cy="563990"/>
                    <a:chOff x="3906054" y="6114996"/>
                    <a:chExt cx="1050221" cy="563990"/>
                  </a:xfrm>
                </p:grpSpPr>
                <p:grpSp>
                  <p:nvGrpSpPr>
                    <p:cNvPr id="2116" name="Group 2115"/>
                    <p:cNvGrpSpPr/>
                    <p:nvPr/>
                  </p:nvGrpSpPr>
                  <p:grpSpPr>
                    <a:xfrm>
                      <a:off x="4000499" y="6358104"/>
                      <a:ext cx="955776" cy="320882"/>
                      <a:chOff x="1594855" y="898558"/>
                      <a:chExt cx="832256" cy="317821"/>
                    </a:xfrm>
                  </p:grpSpPr>
                  <p:cxnSp>
                    <p:nvCxnSpPr>
                      <p:cNvPr id="2122" name="Straight Connector 2121"/>
                      <p:cNvCxnSpPr/>
                      <p:nvPr/>
                    </p:nvCxnSpPr>
                    <p:spPr>
                      <a:xfrm>
                        <a:off x="1594855" y="898558"/>
                        <a:ext cx="832256" cy="0"/>
                      </a:xfrm>
                      <a:prstGeom prst="line">
                        <a:avLst/>
                      </a:prstGeom>
                      <a:noFill/>
                      <a:ln w="25400" cap="flat" cmpd="sng" algn="ctr">
                        <a:solidFill>
                          <a:sysClr val="windowText" lastClr="000000"/>
                        </a:solidFill>
                        <a:prstDash val="solid"/>
                      </a:ln>
                      <a:effectLst/>
                    </p:spPr>
                  </p:cxnSp>
                  <p:cxnSp>
                    <p:nvCxnSpPr>
                      <p:cNvPr id="2123" name="Straight Connector 2122"/>
                      <p:cNvCxnSpPr/>
                      <p:nvPr/>
                    </p:nvCxnSpPr>
                    <p:spPr>
                      <a:xfrm>
                        <a:off x="1594855" y="1216378"/>
                        <a:ext cx="832256" cy="0"/>
                      </a:xfrm>
                      <a:prstGeom prst="line">
                        <a:avLst/>
                      </a:prstGeom>
                      <a:noFill/>
                      <a:ln w="25400" cap="flat" cmpd="sng" algn="ctr">
                        <a:solidFill>
                          <a:sysClr val="windowText" lastClr="000000"/>
                        </a:solidFill>
                        <a:prstDash val="solid"/>
                      </a:ln>
                      <a:effectLst/>
                    </p:spPr>
                  </p:cxnSp>
                  <p:cxnSp>
                    <p:nvCxnSpPr>
                      <p:cNvPr id="2124" name="Straight Connector 2123"/>
                      <p:cNvCxnSpPr/>
                      <p:nvPr/>
                    </p:nvCxnSpPr>
                    <p:spPr>
                      <a:xfrm flipV="1">
                        <a:off x="2427111" y="903111"/>
                        <a:ext cx="0" cy="313268"/>
                      </a:xfrm>
                      <a:prstGeom prst="line">
                        <a:avLst/>
                      </a:prstGeom>
                      <a:noFill/>
                      <a:ln w="25400" cap="flat" cmpd="sng" algn="ctr">
                        <a:solidFill>
                          <a:sysClr val="windowText" lastClr="000000"/>
                        </a:solidFill>
                        <a:prstDash val="solid"/>
                      </a:ln>
                      <a:effectLst/>
                    </p:spPr>
                  </p:cxnSp>
                </p:grpSp>
                <p:sp>
                  <p:nvSpPr>
                    <p:cNvPr id="2117" name="Rectangle 2116"/>
                    <p:cNvSpPr/>
                    <p:nvPr/>
                  </p:nvSpPr>
                  <p:spPr>
                    <a:xfrm>
                      <a:off x="4774463" y="6375591"/>
                      <a:ext cx="163401" cy="288746"/>
                    </a:xfrm>
                    <a:prstGeom prst="rect">
                      <a:avLst/>
                    </a:prstGeom>
                    <a:solidFill>
                      <a:srgbClr val="F79646">
                        <a:lumMod val="60000"/>
                        <a:lumOff val="40000"/>
                      </a:srgbClr>
                    </a:solidFill>
                    <a:ln w="9525" cap="flat" cmpd="sng" algn="ctr">
                      <a:solidFill>
                        <a:sysClr val="windowText" lastClr="000000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391886">
                        <a:defRPr/>
                      </a:pPr>
                      <a:r>
                        <a:rPr lang="en-US" sz="1714" kern="0" dirty="0">
                          <a:latin typeface="Gadugi" charset="0"/>
                          <a:cs typeface="Gadugi" charset="0"/>
                        </a:rPr>
                        <a:t>2</a:t>
                      </a:r>
                    </a:p>
                  </p:txBody>
                </p:sp>
                <p:sp>
                  <p:nvSpPr>
                    <p:cNvPr id="2118" name="Rectangle 2117"/>
                    <p:cNvSpPr/>
                    <p:nvPr/>
                  </p:nvSpPr>
                  <p:spPr>
                    <a:xfrm>
                      <a:off x="4246332" y="6378211"/>
                      <a:ext cx="163401" cy="288746"/>
                    </a:xfrm>
                    <a:prstGeom prst="rect">
                      <a:avLst/>
                    </a:prstGeom>
                    <a:solidFill>
                      <a:srgbClr val="9BBB59">
                        <a:lumMod val="60000"/>
                        <a:lumOff val="40000"/>
                      </a:srgbClr>
                    </a:solidFill>
                    <a:ln w="9525" cap="flat" cmpd="sng" algn="ctr">
                      <a:solidFill>
                        <a:sysClr val="windowText" lastClr="000000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391886">
                        <a:defRPr/>
                      </a:pPr>
                      <a:r>
                        <a:rPr lang="en-US" sz="1714" kern="0" dirty="0">
                          <a:latin typeface="Gadugi" charset="0"/>
                          <a:cs typeface="Gadugi" charset="0"/>
                        </a:rPr>
                        <a:t>9</a:t>
                      </a:r>
                    </a:p>
                  </p:txBody>
                </p:sp>
                <p:sp>
                  <p:nvSpPr>
                    <p:cNvPr id="2119" name="Rectangle 2118"/>
                    <p:cNvSpPr/>
                    <p:nvPr/>
                  </p:nvSpPr>
                  <p:spPr>
                    <a:xfrm>
                      <a:off x="4424539" y="6376469"/>
                      <a:ext cx="163401" cy="288746"/>
                    </a:xfrm>
                    <a:prstGeom prst="rect">
                      <a:avLst/>
                    </a:prstGeom>
                    <a:ln>
                      <a:solidFill>
                        <a:schemeClr val="tx1"/>
                      </a:solidFill>
                    </a:ln>
                  </p:spPr>
                  <p:style>
                    <a:lnRef idx="1">
                      <a:schemeClr val="accent5"/>
                    </a:lnRef>
                    <a:fillRef idx="2">
                      <a:schemeClr val="accent5"/>
                    </a:fillRef>
                    <a:effectRef idx="1">
                      <a:schemeClr val="accent5"/>
                    </a:effectRef>
                    <a:fontRef idx="minor">
                      <a:schemeClr val="dk1"/>
                    </a:fontRef>
                  </p:style>
                  <p:txBody>
                    <a:bodyPr rtlCol="0" anchor="ctr"/>
                    <a:lstStyle/>
                    <a:p>
                      <a:pPr algn="ctr" defTabSz="391886">
                        <a:defRPr/>
                      </a:pPr>
                      <a:r>
                        <a:rPr lang="en-US" sz="1714" kern="0" dirty="0">
                          <a:solidFill>
                            <a:schemeClr val="tx1"/>
                          </a:solidFill>
                          <a:latin typeface="Gadugi" charset="0"/>
                          <a:cs typeface="Gadugi" charset="0"/>
                        </a:rPr>
                        <a:t>8</a:t>
                      </a:r>
                    </a:p>
                  </p:txBody>
                </p:sp>
                <p:cxnSp>
                  <p:nvCxnSpPr>
                    <p:cNvPr id="2120" name="Straight Arrow Connector 2119"/>
                    <p:cNvCxnSpPr/>
                    <p:nvPr/>
                  </p:nvCxnSpPr>
                  <p:spPr>
                    <a:xfrm flipH="1">
                      <a:off x="3906054" y="6122857"/>
                      <a:ext cx="515025" cy="0"/>
                    </a:xfrm>
                    <a:prstGeom prst="straightConnector1">
                      <a:avLst/>
                    </a:prstGeom>
                    <a:noFill/>
                    <a:ln w="25400" cap="flat" cmpd="sng" algn="ctr">
                      <a:solidFill>
                        <a:schemeClr val="tx1"/>
                      </a:solidFill>
                      <a:prstDash val="solid"/>
                      <a:tailEnd type="none"/>
                    </a:ln>
                    <a:effectLst/>
                  </p:spPr>
                </p:cxnSp>
                <p:cxnSp>
                  <p:nvCxnSpPr>
                    <p:cNvPr id="2121" name="Straight Arrow Connector 2120"/>
                    <p:cNvCxnSpPr/>
                    <p:nvPr/>
                  </p:nvCxnSpPr>
                  <p:spPr>
                    <a:xfrm flipV="1">
                      <a:off x="4414905" y="6114996"/>
                      <a:ext cx="0" cy="253677"/>
                    </a:xfrm>
                    <a:prstGeom prst="straightConnector1">
                      <a:avLst/>
                    </a:prstGeom>
                    <a:noFill/>
                    <a:ln w="25400" cap="flat" cmpd="sng" algn="ctr">
                      <a:solidFill>
                        <a:schemeClr val="tx1"/>
                      </a:solidFill>
                      <a:prstDash val="solid"/>
                      <a:headEnd type="triangle" w="lg" len="lg"/>
                      <a:tailEnd type="none"/>
                    </a:ln>
                    <a:effectLst/>
                  </p:spPr>
                </p:cxnSp>
              </p:grpSp>
              <p:sp>
                <p:nvSpPr>
                  <p:cNvPr id="2115" name="Rectangle 2114"/>
                  <p:cNvSpPr/>
                  <p:nvPr/>
                </p:nvSpPr>
                <p:spPr>
                  <a:xfrm>
                    <a:off x="4600575" y="6378575"/>
                    <a:ext cx="163401" cy="288746"/>
                  </a:xfrm>
                  <a:prstGeom prst="rect">
                    <a:avLst/>
                  </a:prstGeom>
                  <a:solidFill>
                    <a:srgbClr val="FF6666"/>
                  </a:solidFill>
                  <a:ln w="9525" cap="flat" cmpd="sng" algn="ctr">
                    <a:solidFill>
                      <a:sysClr val="windowText" lastClr="000000"/>
                    </a:solidFill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algn="ctr" defTabSz="391886">
                      <a:defRPr/>
                    </a:pPr>
                    <a:r>
                      <a:rPr lang="en-US" sz="1714" kern="0" dirty="0">
                        <a:latin typeface="Gadugi" charset="0"/>
                        <a:cs typeface="Gadugi" charset="0"/>
                      </a:rPr>
                      <a:t>5</a:t>
                    </a:r>
                  </a:p>
                </p:txBody>
              </p:sp>
            </p:grpSp>
          </p:grpSp>
          <p:sp>
            <p:nvSpPr>
              <p:cNvPr id="2111" name="TextBox 2110"/>
              <p:cNvSpPr txBox="1"/>
              <p:nvPr/>
            </p:nvSpPr>
            <p:spPr>
              <a:xfrm>
                <a:off x="6438900" y="2548235"/>
                <a:ext cx="3048000" cy="47704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2057" dirty="0">
                    <a:latin typeface="Gadugi" charset="0"/>
                    <a:cs typeface="Gadugi" charset="0"/>
                  </a:rPr>
                  <a:t>PIFO Scheduler</a:t>
                </a:r>
              </a:p>
            </p:txBody>
          </p:sp>
        </p:grpSp>
        <p:cxnSp>
          <p:nvCxnSpPr>
            <p:cNvPr id="2109" name="Straight Arrow Connector 2108"/>
            <p:cNvCxnSpPr/>
            <p:nvPr/>
          </p:nvCxnSpPr>
          <p:spPr>
            <a:xfrm>
              <a:off x="9029700" y="4686300"/>
              <a:ext cx="304800" cy="0"/>
            </a:xfrm>
            <a:prstGeom prst="straightConnector1">
              <a:avLst/>
            </a:prstGeom>
            <a:noFill/>
            <a:ln w="25400" cap="flat" cmpd="sng" algn="ctr">
              <a:solidFill>
                <a:schemeClr val="tx1"/>
              </a:solidFill>
              <a:prstDash val="solid"/>
              <a:tailEnd type="arrow" w="lg" len="lg"/>
            </a:ln>
            <a:effectLst/>
          </p:spPr>
        </p:cxnSp>
      </p:grpSp>
      <p:sp>
        <p:nvSpPr>
          <p:cNvPr id="2127" name="TextBox 2126"/>
          <p:cNvSpPr txBox="1"/>
          <p:nvPr/>
        </p:nvSpPr>
        <p:spPr>
          <a:xfrm>
            <a:off x="20792023" y="18014960"/>
            <a:ext cx="2612571" cy="40889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57" dirty="0">
                <a:latin typeface="Gadugi" charset="0"/>
                <a:cs typeface="Gadugi" charset="0"/>
              </a:rPr>
              <a:t>(programmable)</a:t>
            </a:r>
          </a:p>
        </p:txBody>
      </p:sp>
      <p:sp>
        <p:nvSpPr>
          <p:cNvPr id="2128" name="TextBox 2127"/>
          <p:cNvSpPr txBox="1"/>
          <p:nvPr/>
        </p:nvSpPr>
        <p:spPr>
          <a:xfrm>
            <a:off x="24818825" y="18011132"/>
            <a:ext cx="2612571" cy="40889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57" dirty="0">
                <a:latin typeface="Gadugi" charset="0"/>
                <a:cs typeface="Gadugi" charset="0"/>
              </a:rPr>
              <a:t>(fixed logic)</a:t>
            </a:r>
          </a:p>
        </p:txBody>
      </p:sp>
      <p:sp>
        <p:nvSpPr>
          <p:cNvPr id="2130" name="Rounded Rectangle 2129"/>
          <p:cNvSpPr/>
          <p:nvPr/>
        </p:nvSpPr>
        <p:spPr>
          <a:xfrm>
            <a:off x="20247431" y="18494485"/>
            <a:ext cx="7635148" cy="1029531"/>
          </a:xfrm>
          <a:prstGeom prst="roundRect">
            <a:avLst/>
          </a:prstGeom>
          <a:solidFill>
            <a:srgbClr val="901028"/>
          </a:solidFill>
          <a:ln/>
          <a:scene3d>
            <a:camera prst="orthographicFront"/>
            <a:lightRig rig="threePt" dir="t"/>
          </a:scene3d>
          <a:sp3d>
            <a:bevelT/>
          </a:sp3d>
        </p:spPr>
        <p:style>
          <a:lnRef idx="0">
            <a:schemeClr val="dk1"/>
          </a:lnRef>
          <a:fillRef idx="3">
            <a:schemeClr val="dk1"/>
          </a:fillRef>
          <a:effectRef idx="3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086" dirty="0">
                <a:latin typeface="Gadugi" charset="0"/>
                <a:cs typeface="Gadugi" charset="0"/>
              </a:rPr>
              <a:t>Rank computation is a packet transaction</a:t>
            </a:r>
          </a:p>
          <a:p>
            <a:pPr algn="ctr"/>
            <a:r>
              <a:rPr lang="en-US" sz="3086" dirty="0">
                <a:latin typeface="Gadugi" charset="0"/>
                <a:cs typeface="Gadugi" charset="0"/>
              </a:rPr>
              <a:t>(e.g., WFQ, strict priorities, shaping)</a:t>
            </a:r>
          </a:p>
        </p:txBody>
      </p:sp>
      <p:sp>
        <p:nvSpPr>
          <p:cNvPr id="2131" name="Rounded Rectangle 2130"/>
          <p:cNvSpPr/>
          <p:nvPr/>
        </p:nvSpPr>
        <p:spPr>
          <a:xfrm>
            <a:off x="20517579" y="19649069"/>
            <a:ext cx="7110369" cy="1014106"/>
          </a:xfrm>
          <a:prstGeom prst="roundRect">
            <a:avLst/>
          </a:prstGeom>
          <a:solidFill>
            <a:srgbClr val="901028"/>
          </a:solidFill>
          <a:ln/>
          <a:scene3d>
            <a:camera prst="orthographicFront"/>
            <a:lightRig rig="threePt" dir="t"/>
          </a:scene3d>
          <a:sp3d>
            <a:bevelT/>
          </a:sp3d>
        </p:spPr>
        <p:style>
          <a:lnRef idx="0">
            <a:schemeClr val="dk1"/>
          </a:lnRef>
          <a:fillRef idx="3">
            <a:schemeClr val="dk1"/>
          </a:fillRef>
          <a:effectRef idx="3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086" dirty="0">
                <a:latin typeface="Gadugi" charset="0"/>
                <a:ea typeface="Gadugi" charset="0"/>
                <a:cs typeface="Gadugi" charset="0"/>
              </a:rPr>
              <a:t>Generalizes to hierarchical scheduling)</a:t>
            </a:r>
          </a:p>
        </p:txBody>
      </p:sp>
      <p:sp>
        <p:nvSpPr>
          <p:cNvPr id="2132" name="Rounded Rectangle 2131"/>
          <p:cNvSpPr/>
          <p:nvPr/>
        </p:nvSpPr>
        <p:spPr>
          <a:xfrm>
            <a:off x="20245593" y="21441156"/>
            <a:ext cx="7702305" cy="5011132"/>
          </a:xfrm>
          <a:prstGeom prst="roundRect">
            <a:avLst/>
          </a:prstGeom>
          <a:noFill/>
          <a:ln w="1270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028"/>
          </a:p>
        </p:txBody>
      </p:sp>
      <p:sp>
        <p:nvSpPr>
          <p:cNvPr id="2133" name="Title 1"/>
          <p:cNvSpPr txBox="1">
            <a:spLocks/>
          </p:cNvSpPr>
          <p:nvPr/>
        </p:nvSpPr>
        <p:spPr>
          <a:xfrm>
            <a:off x="20708046" y="21292459"/>
            <a:ext cx="7317173" cy="984704"/>
          </a:xfrm>
          <a:prstGeom prst="rect">
            <a:avLst/>
          </a:prstGeom>
        </p:spPr>
        <p:txBody>
          <a:bodyPr vert="horz" lIns="67927" tIns="33963" rIns="67927" bIns="33963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Gadugi" panose="020B0502040204020203" pitchFamily="34" charset="0"/>
                <a:ea typeface="+mj-ea"/>
                <a:cs typeface="+mj-cs"/>
              </a:defRPr>
            </a:lvl1pPr>
          </a:lstStyle>
          <a:p>
            <a:r>
              <a:rPr lang="en-US" sz="2377" b="1" dirty="0">
                <a:solidFill>
                  <a:srgbClr val="C00000"/>
                </a:solidFill>
                <a:latin typeface="Gadugi"/>
              </a:rPr>
              <a:t>Hardware implementation</a:t>
            </a: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21156652" y="21998073"/>
            <a:ext cx="5956294" cy="2872037"/>
          </a:xfrm>
          <a:prstGeom prst="rect">
            <a:avLst/>
          </a:prstGeom>
        </p:spPr>
      </p:pic>
      <p:sp>
        <p:nvSpPr>
          <p:cNvPr id="2188" name="Rounded Rectangle 2187"/>
          <p:cNvSpPr/>
          <p:nvPr/>
        </p:nvSpPr>
        <p:spPr>
          <a:xfrm>
            <a:off x="21793635" y="25089996"/>
            <a:ext cx="4767978" cy="946255"/>
          </a:xfrm>
          <a:prstGeom prst="roundRect">
            <a:avLst/>
          </a:prstGeom>
          <a:solidFill>
            <a:srgbClr val="901028"/>
          </a:solidFill>
          <a:ln/>
          <a:scene3d>
            <a:camera prst="orthographicFront"/>
            <a:lightRig rig="threePt" dir="t"/>
          </a:scene3d>
          <a:sp3d>
            <a:bevelT/>
          </a:sp3d>
        </p:spPr>
        <p:style>
          <a:lnRef idx="0">
            <a:schemeClr val="dk1"/>
          </a:lnRef>
          <a:fillRef idx="3">
            <a:schemeClr val="dk1"/>
          </a:fillRef>
          <a:effectRef idx="3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086" dirty="0">
                <a:latin typeface="Gadugi" charset="0"/>
                <a:cs typeface="Gadugi" charset="0"/>
              </a:rPr>
              <a:t>Meets timing @ </a:t>
            </a:r>
            <a:r>
              <a:rPr lang="en-US" sz="3086">
                <a:latin typeface="Gadugi" charset="0"/>
                <a:cs typeface="Gadugi" charset="0"/>
              </a:rPr>
              <a:t>1 GHz</a:t>
            </a:r>
            <a:endParaRPr lang="en-US" sz="3086" dirty="0">
              <a:latin typeface="Gadugi" charset="0"/>
              <a:cs typeface="Gadugi" charset="0"/>
            </a:endParaRPr>
          </a:p>
          <a:p>
            <a:pPr algn="ctr"/>
            <a:r>
              <a:rPr lang="en-US" sz="3086" dirty="0">
                <a:latin typeface="Gadugi" charset="0"/>
                <a:cs typeface="Gadugi" charset="0"/>
              </a:rPr>
              <a:t>Incurs 4% area overhead</a:t>
            </a:r>
          </a:p>
        </p:txBody>
      </p:sp>
      <p:pic>
        <p:nvPicPr>
          <p:cNvPr id="13" name="Picture 12"/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196208" y="2823653"/>
            <a:ext cx="2141278" cy="1199115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954482" y="2977055"/>
            <a:ext cx="3396342" cy="1177764"/>
          </a:xfrm>
          <a:prstGeom prst="rect">
            <a:avLst/>
          </a:prstGeom>
        </p:spPr>
      </p:pic>
      <p:pic>
        <p:nvPicPr>
          <p:cNvPr id="2" name="Picture 1"/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11492192" y="10574013"/>
            <a:ext cx="6726183" cy="3033567"/>
          </a:xfrm>
          <a:prstGeom prst="rect">
            <a:avLst/>
          </a:prstGeom>
        </p:spPr>
      </p:pic>
      <p:sp>
        <p:nvSpPr>
          <p:cNvPr id="224" name="Rounded Rectangle 223"/>
          <p:cNvSpPr/>
          <p:nvPr/>
        </p:nvSpPr>
        <p:spPr>
          <a:xfrm>
            <a:off x="11168748" y="13534300"/>
            <a:ext cx="7908693" cy="997857"/>
          </a:xfrm>
          <a:prstGeom prst="roundRect">
            <a:avLst/>
          </a:prstGeom>
          <a:solidFill>
            <a:srgbClr val="901028"/>
          </a:solidFill>
          <a:ln/>
          <a:scene3d>
            <a:camera prst="orthographicFront"/>
            <a:lightRig rig="threePt" dir="t"/>
          </a:scene3d>
          <a:sp3d>
            <a:bevelT/>
          </a:sp3d>
        </p:spPr>
        <p:style>
          <a:lnRef idx="0">
            <a:schemeClr val="dk1"/>
          </a:lnRef>
          <a:fillRef idx="3">
            <a:schemeClr val="dk1"/>
          </a:fillRef>
          <a:effectRef idx="3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086" dirty="0">
                <a:latin typeface="Gadugi" charset="0"/>
                <a:ea typeface="Gadugi" charset="0"/>
                <a:cs typeface="Gadugi" charset="0"/>
              </a:rPr>
              <a:t>Atom = action unit + state</a:t>
            </a:r>
          </a:p>
          <a:p>
            <a:pPr algn="ctr"/>
            <a:r>
              <a:rPr lang="en-US" sz="3086" dirty="0">
                <a:latin typeface="Gadugi" charset="0"/>
                <a:ea typeface="Gadugi" charset="0"/>
                <a:cs typeface="Gadugi" charset="0"/>
              </a:rPr>
              <a:t>A router’s atoms form its instruction set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11370095" y="5405061"/>
            <a:ext cx="7598229" cy="2650746"/>
          </a:xfrm>
          <a:prstGeom prst="rect">
            <a:avLst/>
          </a:prstGeom>
        </p:spPr>
      </p:pic>
      <p:sp>
        <p:nvSpPr>
          <p:cNvPr id="226" name="Rounded Rectangle 225"/>
          <p:cNvSpPr/>
          <p:nvPr/>
        </p:nvSpPr>
        <p:spPr>
          <a:xfrm>
            <a:off x="12450862" y="8077022"/>
            <a:ext cx="5344467" cy="943428"/>
          </a:xfrm>
          <a:prstGeom prst="roundRect">
            <a:avLst/>
          </a:prstGeom>
          <a:solidFill>
            <a:srgbClr val="901028"/>
          </a:solidFill>
          <a:ln/>
          <a:scene3d>
            <a:camera prst="orthographicFront"/>
            <a:lightRig rig="threePt" dir="t"/>
          </a:scene3d>
          <a:sp3d>
            <a:bevelT/>
          </a:sp3d>
        </p:spPr>
        <p:style>
          <a:lnRef idx="0">
            <a:schemeClr val="dk1"/>
          </a:lnRef>
          <a:fillRef idx="3">
            <a:schemeClr val="dk1"/>
          </a:fillRef>
          <a:effectRef idx="3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086" dirty="0">
                <a:latin typeface="Gadugi" charset="0"/>
                <a:cs typeface="Gadugi" charset="0"/>
              </a:rPr>
              <a:t>Program in C-like DSL,</a:t>
            </a:r>
          </a:p>
          <a:p>
            <a:pPr algn="ctr"/>
            <a:r>
              <a:rPr lang="en-US" sz="3086" dirty="0">
                <a:latin typeface="Gadugi" charset="0"/>
                <a:cs typeface="Gadugi" charset="0"/>
              </a:rPr>
              <a:t> compile to run at line-rate</a:t>
            </a:r>
          </a:p>
        </p:txBody>
      </p:sp>
      <p:sp>
        <p:nvSpPr>
          <p:cNvPr id="86" name="Rectangle 85"/>
          <p:cNvSpPr/>
          <p:nvPr/>
        </p:nvSpPr>
        <p:spPr>
          <a:xfrm>
            <a:off x="20358576" y="15436565"/>
            <a:ext cx="3948000" cy="154337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93900" indent="-293900" defTabSz="391866">
              <a:buFontTx/>
              <a:buAutoNum type="arabicPeriod"/>
              <a:defRPr/>
            </a:pPr>
            <a:r>
              <a:rPr lang="en-US" sz="1886" kern="0" dirty="0">
                <a:solidFill>
                  <a:prstClr val="black"/>
                </a:solidFill>
                <a:latin typeface="Gadugi" charset="0"/>
                <a:ea typeface="Gadugi" charset="0"/>
                <a:cs typeface="Gadugi" charset="0"/>
              </a:rPr>
              <a:t>f = flow(p)</a:t>
            </a:r>
          </a:p>
          <a:p>
            <a:pPr marL="293900" indent="-293900" defTabSz="391866">
              <a:buFontTx/>
              <a:buAutoNum type="arabicPeriod"/>
              <a:defRPr/>
            </a:pPr>
            <a:r>
              <a:rPr lang="en-US" sz="1886" kern="0" dirty="0" err="1">
                <a:solidFill>
                  <a:prstClr val="black"/>
                </a:solidFill>
                <a:latin typeface="Gadugi" charset="0"/>
                <a:ea typeface="Gadugi" charset="0"/>
                <a:cs typeface="Gadugi" charset="0"/>
              </a:rPr>
              <a:t>p.start</a:t>
            </a:r>
            <a:r>
              <a:rPr lang="en-US" sz="1886" kern="0" dirty="0">
                <a:solidFill>
                  <a:prstClr val="black"/>
                </a:solidFill>
                <a:latin typeface="Gadugi" charset="0"/>
                <a:ea typeface="Gadugi" charset="0"/>
                <a:cs typeface="Gadugi" charset="0"/>
              </a:rPr>
              <a:t> = max(T[f].finish,                	                     </a:t>
            </a:r>
            <a:r>
              <a:rPr lang="en-US" sz="1886" kern="0" dirty="0" err="1">
                <a:solidFill>
                  <a:prstClr val="black"/>
                </a:solidFill>
                <a:latin typeface="Gadugi" charset="0"/>
                <a:ea typeface="Gadugi" charset="0"/>
                <a:cs typeface="Gadugi" charset="0"/>
              </a:rPr>
              <a:t>virtual_time</a:t>
            </a:r>
            <a:r>
              <a:rPr lang="en-US" sz="1886" kern="0" dirty="0">
                <a:solidFill>
                  <a:prstClr val="black"/>
                </a:solidFill>
                <a:latin typeface="Gadugi" charset="0"/>
                <a:ea typeface="Gadugi" charset="0"/>
                <a:cs typeface="Gadugi" charset="0"/>
              </a:rPr>
              <a:t>)</a:t>
            </a:r>
          </a:p>
          <a:p>
            <a:pPr marL="293900" indent="-293900" defTabSz="391866">
              <a:buFontTx/>
              <a:buAutoNum type="arabicPeriod"/>
              <a:defRPr/>
            </a:pPr>
            <a:r>
              <a:rPr lang="en-US" sz="1886" kern="0" dirty="0">
                <a:solidFill>
                  <a:prstClr val="black"/>
                </a:solidFill>
                <a:latin typeface="Gadugi" charset="0"/>
                <a:ea typeface="Gadugi" charset="0"/>
                <a:cs typeface="Gadugi" charset="0"/>
              </a:rPr>
              <a:t>T[f].finish = </a:t>
            </a:r>
            <a:r>
              <a:rPr lang="en-US" sz="1886" kern="0" dirty="0" err="1">
                <a:solidFill>
                  <a:prstClr val="black"/>
                </a:solidFill>
                <a:latin typeface="Gadugi" charset="0"/>
                <a:ea typeface="Gadugi" charset="0"/>
                <a:cs typeface="Gadugi" charset="0"/>
              </a:rPr>
              <a:t>p.start</a:t>
            </a:r>
            <a:r>
              <a:rPr lang="en-US" sz="1886" kern="0" dirty="0">
                <a:solidFill>
                  <a:prstClr val="black"/>
                </a:solidFill>
                <a:latin typeface="Gadugi" charset="0"/>
                <a:ea typeface="Gadugi" charset="0"/>
                <a:cs typeface="Gadugi" charset="0"/>
              </a:rPr>
              <a:t> + </a:t>
            </a:r>
            <a:r>
              <a:rPr lang="en-US" sz="1886" kern="0" dirty="0" err="1">
                <a:solidFill>
                  <a:prstClr val="black"/>
                </a:solidFill>
                <a:latin typeface="Gadugi" charset="0"/>
                <a:ea typeface="Gadugi" charset="0"/>
                <a:cs typeface="Gadugi" charset="0"/>
              </a:rPr>
              <a:t>p.len</a:t>
            </a:r>
            <a:r>
              <a:rPr lang="en-US" sz="1886" kern="0" dirty="0">
                <a:solidFill>
                  <a:prstClr val="black"/>
                </a:solidFill>
                <a:latin typeface="Gadugi" charset="0"/>
                <a:ea typeface="Gadugi" charset="0"/>
                <a:cs typeface="Gadugi" charset="0"/>
              </a:rPr>
              <a:t> / </a:t>
            </a:r>
            <a:r>
              <a:rPr lang="en-US" sz="1886" kern="0" dirty="0" err="1">
                <a:solidFill>
                  <a:prstClr val="black"/>
                </a:solidFill>
                <a:latin typeface="Gadugi" charset="0"/>
                <a:ea typeface="Gadugi" charset="0"/>
                <a:cs typeface="Gadugi" charset="0"/>
              </a:rPr>
              <a:t>p.w</a:t>
            </a:r>
            <a:endParaRPr lang="en-US" sz="1886" kern="0" dirty="0">
              <a:solidFill>
                <a:prstClr val="black"/>
              </a:solidFill>
              <a:latin typeface="Gadugi" charset="0"/>
              <a:ea typeface="Gadugi" charset="0"/>
              <a:cs typeface="Gadugi" charset="0"/>
            </a:endParaRPr>
          </a:p>
          <a:p>
            <a:pPr marL="293900" indent="-293900" defTabSz="391866">
              <a:buFontTx/>
              <a:buAutoNum type="arabicPeriod"/>
              <a:defRPr/>
            </a:pPr>
            <a:r>
              <a:rPr lang="en-US" sz="1886" kern="0" dirty="0" err="1">
                <a:solidFill>
                  <a:prstClr val="black"/>
                </a:solidFill>
                <a:latin typeface="Gadugi" charset="0"/>
                <a:ea typeface="Gadugi" charset="0"/>
                <a:cs typeface="Gadugi" charset="0"/>
              </a:rPr>
              <a:t>p.rank</a:t>
            </a:r>
            <a:r>
              <a:rPr lang="en-US" sz="1886" kern="0" dirty="0">
                <a:solidFill>
                  <a:prstClr val="black"/>
                </a:solidFill>
                <a:latin typeface="Gadugi" charset="0"/>
                <a:ea typeface="Gadugi" charset="0"/>
                <a:cs typeface="Gadugi" charset="0"/>
              </a:rPr>
              <a:t> = </a:t>
            </a:r>
            <a:r>
              <a:rPr lang="en-US" sz="1886" kern="0" dirty="0" err="1">
                <a:solidFill>
                  <a:prstClr val="black"/>
                </a:solidFill>
                <a:latin typeface="Gadugi" charset="0"/>
                <a:ea typeface="Gadugi" charset="0"/>
                <a:cs typeface="Gadugi" charset="0"/>
              </a:rPr>
              <a:t>p.start</a:t>
            </a:r>
            <a:endParaRPr lang="en-US" sz="1886" kern="0" dirty="0">
              <a:solidFill>
                <a:prstClr val="black"/>
              </a:solidFill>
              <a:latin typeface="Gadugi" charset="0"/>
              <a:ea typeface="Gadugi" charset="0"/>
              <a:cs typeface="Gadugi" charset="0"/>
            </a:endParaRPr>
          </a:p>
        </p:txBody>
      </p:sp>
      <p:sp>
        <p:nvSpPr>
          <p:cNvPr id="2106" name="Right Arrow 2105"/>
          <p:cNvSpPr/>
          <p:nvPr/>
        </p:nvSpPr>
        <p:spPr>
          <a:xfrm>
            <a:off x="24184873" y="16109032"/>
            <a:ext cx="525633" cy="293914"/>
          </a:xfrm>
          <a:prstGeom prst="rightArrow">
            <a:avLst/>
          </a:prstGeom>
          <a:ln/>
        </p:spPr>
        <p:style>
          <a:lnRef idx="1">
            <a:schemeClr val="dk1"/>
          </a:lnRef>
          <a:fillRef idx="3">
            <a:schemeClr val="dk1"/>
          </a:fillRef>
          <a:effectRef idx="2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028"/>
          </a:p>
        </p:txBody>
      </p:sp>
    </p:spTree>
    <p:extLst>
      <p:ext uri="{BB962C8B-B14F-4D97-AF65-F5344CB8AC3E}">
        <p14:creationId xmlns:p14="http://schemas.microsoft.com/office/powerpoint/2010/main" val="255807672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8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6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420</TotalTime>
  <Words>504</Words>
  <Application>Microsoft Macintosh PowerPoint</Application>
  <PresentationFormat>Custom</PresentationFormat>
  <Paragraphs>164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6" baseType="lpstr">
      <vt:lpstr>Calibri</vt:lpstr>
      <vt:lpstr>Gadugi</vt:lpstr>
      <vt:lpstr>Arial</vt:lpstr>
      <vt:lpstr>Office Theme</vt:lpstr>
      <vt:lpstr>think-cell Slide</vt:lpstr>
      <vt:lpstr>PowerPoint Presentation</vt:lpstr>
    </vt:vector>
  </TitlesOfParts>
  <Company>Abbott Laboratories</Company>
  <LinksUpToDate>false</LinksUpToDate>
  <SharedDoc>false</SharedDoc>
  <HyperlinksChanged>false</HyperlinksChanged>
  <AppVersion>15.0026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acket Transactions: Programming the Data Plane at Line Rate</dc:title>
  <dc:creator>Dondapati, Tejaswi</dc:creator>
  <cp:lastModifiedBy>Microsoft Office User</cp:lastModifiedBy>
  <cp:revision>358</cp:revision>
  <cp:lastPrinted>2017-02-03T21:33:17Z</cp:lastPrinted>
  <dcterms:created xsi:type="dcterms:W3CDTF">2015-11-18T16:41:48Z</dcterms:created>
  <dcterms:modified xsi:type="dcterms:W3CDTF">2017-02-03T21:33:50Z</dcterms:modified>
</cp:coreProperties>
</file>